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wav" ContentType="audio/x-wav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38" r:id="rId2"/>
    <p:sldId id="341" r:id="rId3"/>
    <p:sldId id="473" r:id="rId4"/>
    <p:sldId id="477" r:id="rId5"/>
    <p:sldId id="472" r:id="rId6"/>
    <p:sldId id="471" r:id="rId7"/>
    <p:sldId id="474" r:id="rId8"/>
    <p:sldId id="485" r:id="rId9"/>
    <p:sldId id="478" r:id="rId10"/>
    <p:sldId id="481" r:id="rId11"/>
    <p:sldId id="479" r:id="rId12"/>
    <p:sldId id="487" r:id="rId13"/>
    <p:sldId id="476" r:id="rId14"/>
    <p:sldId id="482" r:id="rId15"/>
    <p:sldId id="486" r:id="rId16"/>
    <p:sldId id="465" r:id="rId17"/>
    <p:sldId id="475" r:id="rId18"/>
    <p:sldId id="484" r:id="rId19"/>
    <p:sldId id="483" r:id="rId20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E36C517-5D84-E20E-563E-0D60690AC595}" name="Ballin, Annika" initials="BA" userId="S::annika.ballin@ikts.fraunhofer.de::d111a0c7-76ec-4656-ba3d-e75e9eefad6b" providerId="AD"/>
  <p188:author id="{5B194A73-59BC-1567-9377-2998290A54F4}" name="Tran, David" initials="TD" userId="S::david.tran@ikts.fraunhofer.de::c6b800dc-10d9-4ccf-b712-e3c3a1ac7e6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BE8ED"/>
    <a:srgbClr val="179C7D"/>
    <a:srgbClr val="09B2AC"/>
    <a:srgbClr val="FF9900"/>
    <a:srgbClr val="D2DDE3"/>
    <a:srgbClr val="7A3A3A"/>
    <a:srgbClr val="00779A"/>
    <a:srgbClr val="1C768F"/>
    <a:srgbClr val="014A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33" autoAdjust="0"/>
    <p:restoredTop sz="85553" autoAdjust="0"/>
  </p:normalViewPr>
  <p:slideViewPr>
    <p:cSldViewPr snapToGrid="0" showGuides="1">
      <p:cViewPr varScale="1">
        <p:scale>
          <a:sx n="73" d="100"/>
          <a:sy n="73" d="100"/>
        </p:scale>
        <p:origin x="1200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8670"/>
    </p:cViewPr>
  </p:sorterViewPr>
  <p:notesViewPr>
    <p:cSldViewPr snapToGrid="0">
      <p:cViewPr varScale="1">
        <p:scale>
          <a:sx n="65" d="100"/>
          <a:sy n="65" d="100"/>
        </p:scale>
        <p:origin x="3154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1/18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1/18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74004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57EE93A5-D765-46A5-9FE0-2112C7E5D7CD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9FC50E3-48AC-4447-BFA2-3B9B958D872A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28D9B34-6489-43D1-9301-41B9447E9F65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B2D732-DFF4-42DD-A6F8-7B724BFDDDC0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DDCB87A-9515-4521-8149-B355BE27B1E3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4AAD9-E8EC-41FB-A2A5-0FA335BBC214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5953-A761-4764-8A2D-22305BC8FD01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3531C-FCAC-41BF-BD28-5CEF01A74C3D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D16690-2A4A-4875-9983-160126CBCDA2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24EEB05-2057-4BAB-84B6-18A7A9D3887C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9C8E2F-2E1A-4D4D-901F-907E7C0DEBB6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CF90B594-2AF4-4FAB-B3B1-B3670194D86B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707B43-A2EB-480D-B516-8569123A8F1D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F183B8E-0297-4672-A9C9-3644F78962E1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82F6C1-6E87-45DB-A1DE-E44572C75F6F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D1CC91D-E254-43FB-BEF4-27EA9CF9CCBB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60E1ED-98D2-48D3-90E4-5FEB885B8EAA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D6C6142-740E-45D1-8689-26EE19FEB984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E09371CB-E302-4111-B4B5-8E12DA46FAA5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3372F748-8109-4A29-B583-A066012C4D7D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B6CA89E-B8B7-4854-9106-BFC89DFBD29B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3C1C8DC0-4F59-40FC-B15B-8E052AFB7B36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ECE554A5-86BA-4160-89DE-052EDD3E86C2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22300" y="476823"/>
            <a:ext cx="10944000" cy="1007908"/>
          </a:xfrm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dirty="0"/>
              <a:t>Agenda/Add Title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noProof="0" dirty="0"/>
          </a:p>
        </p:txBody>
      </p:sp>
      <p:sp>
        <p:nvSpPr>
          <p:cNvPr id="4" name="Line 12"/>
          <p:cNvSpPr>
            <a:spLocks noChangeShapeType="1"/>
          </p:cNvSpPr>
          <p:nvPr userDrawn="1"/>
        </p:nvSpPr>
        <p:spPr bwMode="auto">
          <a:xfrm flipV="1">
            <a:off x="622300" y="406800"/>
            <a:ext cx="1094400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>
            <a:off x="624000" y="1558800"/>
            <a:ext cx="10944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1" y="1773238"/>
            <a:ext cx="10945700" cy="4248150"/>
          </a:xfrm>
        </p:spPr>
        <p:txBody>
          <a:bodyPr/>
          <a:lstStyle>
            <a:lvl1pPr marL="360000" indent="-360000">
              <a:buFont typeface="Wingdings" pitchFamily="2" charset="2"/>
              <a:buChar char="n"/>
              <a:defRPr/>
            </a:lvl1pPr>
            <a:lvl2pPr marL="720000" indent="-360000">
              <a:buFont typeface="Wingdings" pitchFamily="2" charset="2"/>
              <a:buChar char="n"/>
              <a:defRPr/>
            </a:lvl2pPr>
            <a:lvl3pPr marL="1080000">
              <a:defRPr/>
            </a:lvl3pPr>
            <a:lvl4pPr marL="1440000">
              <a:defRPr/>
            </a:lvl4pPr>
            <a:lvl5pPr marL="1800000" indent="-360000">
              <a:defRPr/>
            </a:lvl5pPr>
          </a:lstStyle>
          <a:p>
            <a:pPr lvl="0"/>
            <a:r>
              <a:rPr lang="de-DE" dirty="0"/>
              <a:t>Add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Datumsplatzhalter">
            <a:extLst>
              <a:ext uri="{FF2B5EF4-FFF2-40B4-BE49-F238E27FC236}">
                <a16:creationId xmlns:a16="http://schemas.microsoft.com/office/drawing/2014/main" id="{58B692D2-6B2F-141D-88C8-9D2D28D378A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CE34DEE-AC2B-4EB0-9D36-F62E009F9EE9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7" name="Copyright Fraunhofer">
            <a:extLst>
              <a:ext uri="{FF2B5EF4-FFF2-40B4-BE49-F238E27FC236}">
                <a16:creationId xmlns:a16="http://schemas.microsoft.com/office/drawing/2014/main" id="{D695CD22-6B8A-FC72-ABCE-E34261E2F6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8" name="Informationsklassifizierung">
            <a:extLst>
              <a:ext uri="{FF2B5EF4-FFF2-40B4-BE49-F238E27FC236}">
                <a16:creationId xmlns:a16="http://schemas.microsoft.com/office/drawing/2014/main" id="{0179BB05-15D1-3308-D37C-CE58409B860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latin typeface="+mj-lt"/>
              </a:rPr>
              <a:t>- </a:t>
            </a:r>
            <a:r>
              <a:rPr lang="de-DE" sz="800" b="1" noProof="0" dirty="0">
                <a:latin typeface="+mj-lt"/>
              </a:rPr>
              <a:t>Public</a:t>
            </a:r>
            <a:r>
              <a:rPr lang="en-US" sz="800" b="1" dirty="0">
                <a:latin typeface="+mj-lt"/>
              </a:rPr>
              <a:t> -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0AD198-6EA9-A1FE-FBD7-9AD4C6F5D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8935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22300" y="334800"/>
            <a:ext cx="10944000" cy="369332"/>
          </a:xfrm>
        </p:spPr>
        <p:txBody>
          <a:bodyPr wrap="square">
            <a:spAutoFit/>
          </a:bodyPr>
          <a:lstStyle>
            <a:lvl1pPr marL="0" indent="0" defTabSz="504000">
              <a:defRPr/>
            </a:lvl1pPr>
          </a:lstStyle>
          <a:p>
            <a:r>
              <a:rPr lang="en-US" dirty="0" err="1"/>
              <a:t>Inhalt</a:t>
            </a:r>
            <a:r>
              <a:rPr lang="en-US" dirty="0"/>
              <a:t>/</a:t>
            </a:r>
            <a:r>
              <a:rPr lang="en-US" dirty="0" err="1"/>
              <a:t>Titel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2300" y="1773238"/>
            <a:ext cx="10944000" cy="424815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1270801C-C2C0-DB2E-50DB-2D6E1FA4601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EC38B7E-8BB4-466B-AC00-1F3DE3C728AD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78F021E6-C1EA-95C2-C514-E466E08078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6" name="Informationsklassifizierung">
            <a:extLst>
              <a:ext uri="{FF2B5EF4-FFF2-40B4-BE49-F238E27FC236}">
                <a16:creationId xmlns:a16="http://schemas.microsoft.com/office/drawing/2014/main" id="{27FC0D82-A7C1-77EB-7A02-0D3E5CD0DC1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latin typeface="+mj-lt"/>
              </a:rPr>
              <a:t>- </a:t>
            </a:r>
            <a:r>
              <a:rPr lang="de-DE" sz="800" b="1" noProof="0" dirty="0">
                <a:latin typeface="+mj-lt"/>
              </a:rPr>
              <a:t>Public</a:t>
            </a:r>
            <a:r>
              <a:rPr lang="en-US" sz="800" b="1" dirty="0">
                <a:latin typeface="+mj-lt"/>
              </a:rPr>
              <a:t> -</a:t>
            </a:r>
          </a:p>
        </p:txBody>
      </p:sp>
      <p:sp>
        <p:nvSpPr>
          <p:cNvPr id="7" name="Foliennummernplatzhalter 8">
            <a:extLst>
              <a:ext uri="{FF2B5EF4-FFF2-40B4-BE49-F238E27FC236}">
                <a16:creationId xmlns:a16="http://schemas.microsoft.com/office/drawing/2014/main" id="{D7BADDB5-7920-6683-61A4-33153A176C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8997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F7474488-697E-4014-A175-08E5D8C78FCD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43562777-BC89-41A8-8ABD-AD82EA7A1C5A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6341B6FC-CAF5-4DDB-AC59-DE01F4C43621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40DA5F4-2DA6-447A-999F-96B9A95B7874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7E029BE4-305B-42EB-AD1C-E9EC1392D5A4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4FBDE84-3336-4480-887D-6B0CFBFDF83D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44" imgH="345" progId="TCLayout.ActiveDocument.1">
                  <p:embed/>
                </p:oleObj>
              </mc:Choice>
              <mc:Fallback>
                <p:oleObj name="think-cell Folie" r:id="rId3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ABAE543-3AB9-445C-B27E-DEB4DD8D09D3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KTS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endParaRPr lang="en-US" sz="800" b="1" dirty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ikts_rgb">
            <a:extLst>
              <a:ext uri="{FF2B5EF4-FFF2-40B4-BE49-F238E27FC236}">
                <a16:creationId xmlns:a16="http://schemas.microsoft.com/office/drawing/2014/main" id="{5E302A28-B302-8B97-6B04-4B96DD98514B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9226" y="6334126"/>
            <a:ext cx="1404000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80" r:id="rId30"/>
    <p:sldLayoutId id="2147483681" r:id="rId31"/>
  </p:sldLayoutIdLst>
  <p:hf sldNum="0"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sotra.app/" TargetMode="External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www.youtube.com/clip/UgkxA3JZaZiBsX_dW3AgL5xSRmscR2jnzwAB" TargetMode="External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gaussia.de/bamborak/" TargetMode="External"/><Relationship Id="rId3" Type="http://schemas.microsoft.com/office/2007/relationships/media" Target="../media/media3.wav"/><Relationship Id="rId7" Type="http://schemas.openxmlformats.org/officeDocument/2006/relationships/slideLayout" Target="../slideLayouts/slideLayout31.xml"/><Relationship Id="rId12" Type="http://schemas.openxmlformats.org/officeDocument/2006/relationships/hyperlink" Target="https://tts-juro-matej.serbski-institut.de/marytts/" TargetMode="External"/><Relationship Id="rId2" Type="http://schemas.openxmlformats.org/officeDocument/2006/relationships/audio" Target="../media/media2.wav"/><Relationship Id="rId1" Type="http://schemas.microsoft.com/office/2007/relationships/media" Target="../media/media2.wav"/><Relationship Id="rId6" Type="http://schemas.openxmlformats.org/officeDocument/2006/relationships/audio" Target="../media/media4.mp3"/><Relationship Id="rId11" Type="http://schemas.openxmlformats.org/officeDocument/2006/relationships/image" Target="../media/image25.png"/><Relationship Id="rId5" Type="http://schemas.microsoft.com/office/2007/relationships/media" Target="../media/media4.mp3"/><Relationship Id="rId10" Type="http://schemas.openxmlformats.org/officeDocument/2006/relationships/image" Target="../media/image24.png"/><Relationship Id="rId4" Type="http://schemas.openxmlformats.org/officeDocument/2006/relationships/audio" Target="../media/media3.wav"/><Relationship Id="rId9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13" Type="http://schemas.microsoft.com/office/2007/relationships/media" Target="../media/media11.mp3"/><Relationship Id="rId18" Type="http://schemas.openxmlformats.org/officeDocument/2006/relationships/audio" Target="../media/media13.wav"/><Relationship Id="rId26" Type="http://schemas.openxmlformats.org/officeDocument/2006/relationships/audio" Target="../media/media17.wav"/><Relationship Id="rId3" Type="http://schemas.microsoft.com/office/2007/relationships/media" Target="../media/media6.mp3"/><Relationship Id="rId21" Type="http://schemas.microsoft.com/office/2007/relationships/media" Target="../media/media15.wav"/><Relationship Id="rId34" Type="http://schemas.openxmlformats.org/officeDocument/2006/relationships/image" Target="../media/image25.png"/><Relationship Id="rId7" Type="http://schemas.microsoft.com/office/2007/relationships/media" Target="../media/media8.mp3"/><Relationship Id="rId12" Type="http://schemas.openxmlformats.org/officeDocument/2006/relationships/audio" Target="../media/media10.mp3"/><Relationship Id="rId17" Type="http://schemas.microsoft.com/office/2007/relationships/media" Target="../media/media13.wav"/><Relationship Id="rId25" Type="http://schemas.microsoft.com/office/2007/relationships/media" Target="../media/media17.wav"/><Relationship Id="rId33" Type="http://schemas.openxmlformats.org/officeDocument/2006/relationships/slideLayout" Target="../slideLayouts/slideLayout31.xml"/><Relationship Id="rId2" Type="http://schemas.openxmlformats.org/officeDocument/2006/relationships/audio" Target="../media/media5.mp3"/><Relationship Id="rId16" Type="http://schemas.openxmlformats.org/officeDocument/2006/relationships/audio" Target="../media/media12.wav"/><Relationship Id="rId20" Type="http://schemas.openxmlformats.org/officeDocument/2006/relationships/audio" Target="../media/media14.wav"/><Relationship Id="rId29" Type="http://schemas.microsoft.com/office/2007/relationships/media" Target="../media/media19.mp3"/><Relationship Id="rId1" Type="http://schemas.microsoft.com/office/2007/relationships/media" Target="../media/media5.mp3"/><Relationship Id="rId6" Type="http://schemas.openxmlformats.org/officeDocument/2006/relationships/audio" Target="../media/media7.mp3"/><Relationship Id="rId11" Type="http://schemas.microsoft.com/office/2007/relationships/media" Target="../media/media10.mp3"/><Relationship Id="rId24" Type="http://schemas.openxmlformats.org/officeDocument/2006/relationships/audio" Target="../media/media16.wav"/><Relationship Id="rId32" Type="http://schemas.openxmlformats.org/officeDocument/2006/relationships/audio" Target="../media/media20.wav"/><Relationship Id="rId5" Type="http://schemas.microsoft.com/office/2007/relationships/media" Target="../media/media7.mp3"/><Relationship Id="rId15" Type="http://schemas.microsoft.com/office/2007/relationships/media" Target="../media/media12.wav"/><Relationship Id="rId23" Type="http://schemas.microsoft.com/office/2007/relationships/media" Target="../media/media16.wav"/><Relationship Id="rId28" Type="http://schemas.openxmlformats.org/officeDocument/2006/relationships/audio" Target="../media/media18.wav"/><Relationship Id="rId10" Type="http://schemas.openxmlformats.org/officeDocument/2006/relationships/audio" Target="../media/media9.mp3"/><Relationship Id="rId19" Type="http://schemas.microsoft.com/office/2007/relationships/media" Target="../media/media14.wav"/><Relationship Id="rId31" Type="http://schemas.microsoft.com/office/2007/relationships/media" Target="../media/media20.wav"/><Relationship Id="rId4" Type="http://schemas.openxmlformats.org/officeDocument/2006/relationships/audio" Target="../media/media6.mp3"/><Relationship Id="rId9" Type="http://schemas.microsoft.com/office/2007/relationships/media" Target="../media/media9.mp3"/><Relationship Id="rId14" Type="http://schemas.openxmlformats.org/officeDocument/2006/relationships/audio" Target="../media/media11.mp3"/><Relationship Id="rId22" Type="http://schemas.openxmlformats.org/officeDocument/2006/relationships/audio" Target="../media/media15.wav"/><Relationship Id="rId27" Type="http://schemas.microsoft.com/office/2007/relationships/media" Target="../media/media18.wav"/><Relationship Id="rId30" Type="http://schemas.openxmlformats.org/officeDocument/2006/relationships/audio" Target="../media/media19.mp3"/><Relationship Id="rId8" Type="http://schemas.openxmlformats.org/officeDocument/2006/relationships/audio" Target="../media/media8.mp3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2.xml"/><Relationship Id="rId6" Type="http://schemas.openxmlformats.org/officeDocument/2006/relationships/image" Target="../media/image27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8.jpeg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Relationship Id="rId9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gif"/><Relationship Id="rId2" Type="http://schemas.openxmlformats.org/officeDocument/2006/relationships/image" Target="../media/image32.gif"/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4.jp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e.m.wikipedia.org/wiki/Datei:Sorbische_Dialekte-hsb.png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www.youtube.com/watch?v=wfvLd5cyVZ0&amp;t=857s" TargetMode="Externa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157650" y="2557049"/>
            <a:ext cx="11929247" cy="3952530"/>
          </a:xfrm>
        </p:spPr>
        <p:txBody>
          <a:bodyPr/>
          <a:lstStyle/>
          <a:p>
            <a:pPr lvl="0"/>
            <a:r>
              <a:rPr lang="en-US" b="1" noProof="0" dirty="0"/>
              <a:t>Preserving Language Heritage Through Speech Technology: </a:t>
            </a:r>
            <a:br>
              <a:rPr lang="en-US" b="1" noProof="0" dirty="0"/>
            </a:br>
            <a:r>
              <a:rPr lang="en-US" b="1" noProof="0" dirty="0"/>
              <a:t>The Case of Upper Sorbian – Part I</a:t>
            </a:r>
          </a:p>
          <a:p>
            <a:pPr lvl="0"/>
            <a:endParaRPr lang="en-US" sz="2000" b="1" i="1" noProof="0" dirty="0"/>
          </a:p>
          <a:p>
            <a:pPr lvl="0"/>
            <a:r>
              <a:rPr lang="en-US" sz="1600" b="1" i="1" noProof="0" dirty="0"/>
              <a:t>Ivan Kraljevski, </a:t>
            </a:r>
            <a:r>
              <a:rPr lang="en-US" sz="1600" i="1" noProof="0" dirty="0"/>
              <a:t>Frank Duckhorn</a:t>
            </a:r>
            <a:r>
              <a:rPr lang="en-US" sz="1600" b="1" i="1" noProof="0" dirty="0"/>
              <a:t>, Daniel Sobe, </a:t>
            </a:r>
            <a:r>
              <a:rPr lang="en-US" sz="1600" i="1" noProof="0" dirty="0"/>
              <a:t>Constanze Tschöpe, Mattias Wolff</a:t>
            </a:r>
            <a:endParaRPr lang="en-US" sz="1600" i="1" dirty="0"/>
          </a:p>
          <a:p>
            <a:pPr lvl="0"/>
            <a:endParaRPr lang="en-US" sz="2000" b="1" i="1" noProof="0" dirty="0"/>
          </a:p>
          <a:p>
            <a:pPr lvl="2"/>
            <a:endParaRPr lang="en-US" dirty="0"/>
          </a:p>
          <a:p>
            <a:pPr algn="l"/>
            <a:r>
              <a:rPr lang="en-US" sz="2000" b="1" i="0" cap="all" dirty="0" err="1">
                <a:solidFill>
                  <a:srgbClr val="F49404"/>
                </a:solidFill>
                <a:effectLst/>
                <a:latin typeface="Roboto" panose="02000000000000000000" pitchFamily="2" charset="0"/>
              </a:rPr>
              <a:t>Specom</a:t>
            </a:r>
            <a:r>
              <a:rPr lang="en-US" sz="2000" b="1" i="0" cap="all" dirty="0">
                <a:solidFill>
                  <a:srgbClr val="F49404"/>
                </a:solidFill>
                <a:effectLst/>
                <a:latin typeface="Roboto" panose="02000000000000000000" pitchFamily="2" charset="0"/>
              </a:rPr>
              <a:t> 2024, </a:t>
            </a:r>
            <a:r>
              <a:rPr lang="en-US" sz="2000" b="1" i="0" dirty="0">
                <a:solidFill>
                  <a:srgbClr val="F49404"/>
                </a:solidFill>
                <a:effectLst/>
                <a:latin typeface="Roboto" panose="02000000000000000000" pitchFamily="2" charset="0"/>
              </a:rPr>
              <a:t>26th International Conference on Speech and Computer </a:t>
            </a:r>
            <a:br>
              <a:rPr lang="en-US" sz="2000" b="1" i="0" dirty="0">
                <a:solidFill>
                  <a:srgbClr val="F49404"/>
                </a:solidFill>
                <a:effectLst/>
                <a:latin typeface="Roboto" panose="02000000000000000000" pitchFamily="2" charset="0"/>
              </a:rPr>
            </a:br>
            <a:r>
              <a:rPr lang="en-US" sz="2000" b="1" i="0" dirty="0">
                <a:solidFill>
                  <a:srgbClr val="FFFFFF"/>
                </a:solidFill>
                <a:effectLst/>
                <a:latin typeface="Roboto" panose="02000000000000000000" pitchFamily="2" charset="0"/>
              </a:rPr>
              <a:t>25 - 28 November 2024, Crowne Plaza, Belgrade, Serbia</a:t>
            </a:r>
          </a:p>
        </p:txBody>
      </p:sp>
      <p:pic>
        <p:nvPicPr>
          <p:cNvPr id="4" name="ikts_rgb_modul_send_de">
            <a:extLst>
              <a:ext uri="{FF2B5EF4-FFF2-40B4-BE49-F238E27FC236}">
                <a16:creationId xmlns:a16="http://schemas.microsoft.com/office/drawing/2014/main" id="{F7BD3FEB-22CA-3B58-2EF7-4167E9AE2EE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96162" y="476250"/>
            <a:ext cx="2512826" cy="1471400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BE820E9F-4A14-CED2-9E47-4B7846D5A4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 flipV="1">
            <a:off x="9732581" y="4603850"/>
            <a:ext cx="1807780" cy="177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B1FAE48-527D-A56F-612D-8481061FEAC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AA0A676-9DFB-49CD-9DF5-518A2338620C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93E3F5B-6D3F-732F-88B0-438F6591F14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995416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2ECC44-86AC-518A-902E-64BEB4C29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725199"/>
          </a:xfrm>
        </p:spPr>
        <p:txBody>
          <a:bodyPr/>
          <a:lstStyle/>
          <a:p>
            <a:r>
              <a:rPr lang="en-US" dirty="0"/>
              <a:t>Preserving Language Heritage through Speech Technology</a:t>
            </a:r>
            <a:br>
              <a:rPr lang="de-DE" dirty="0"/>
            </a:br>
            <a:r>
              <a:rPr lang="de-DE" sz="2000" dirty="0" err="1">
                <a:latin typeface="Frutiger 45 Light" panose="020B0300000000000000" pitchFamily="34" charset="0"/>
              </a:rPr>
              <a:t>SOrbian</a:t>
            </a:r>
            <a:r>
              <a:rPr lang="de-DE" sz="2000" dirty="0">
                <a:latin typeface="Frutiger 45 Light" panose="020B0300000000000000" pitchFamily="34" charset="0"/>
              </a:rPr>
              <a:t> - German </a:t>
            </a:r>
            <a:r>
              <a:rPr lang="de-DE" sz="2000" dirty="0" err="1">
                <a:latin typeface="Frutiger 45 Light" panose="020B0300000000000000" pitchFamily="34" charset="0"/>
              </a:rPr>
              <a:t>Machine</a:t>
            </a:r>
            <a:r>
              <a:rPr lang="de-DE" sz="2000" dirty="0">
                <a:latin typeface="Frutiger 45 Light" panose="020B0300000000000000" pitchFamily="34" charset="0"/>
              </a:rPr>
              <a:t> </a:t>
            </a:r>
            <a:r>
              <a:rPr lang="de-DE" sz="2000" dirty="0" err="1">
                <a:latin typeface="Frutiger 45 Light" panose="020B0300000000000000" pitchFamily="34" charset="0"/>
              </a:rPr>
              <a:t>TRAnslation</a:t>
            </a:r>
            <a:r>
              <a:rPr lang="de-DE" sz="2000" dirty="0">
                <a:latin typeface="Frutiger 45 Light" panose="020B0300000000000000" pitchFamily="34" charset="0"/>
              </a:rPr>
              <a:t> - SOTR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F095EE-59B3-2092-7A0B-E5A23E70DA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2300" y="1773238"/>
            <a:ext cx="3909060" cy="3475310"/>
          </a:xfrm>
        </p:spPr>
        <p:txBody>
          <a:bodyPr/>
          <a:lstStyle/>
          <a:p>
            <a:pPr lvl="3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In 2021, the first Sorbian-German machine translation (MT) application SOTRA was launched with the support of the </a:t>
            </a:r>
            <a:br>
              <a:rPr lang="en-US" sz="2000" dirty="0"/>
            </a:br>
            <a:r>
              <a:rPr lang="en-US" sz="2000" dirty="0"/>
              <a:t>WITAJ Language Center in Bautzen and Cottbus.</a:t>
            </a:r>
          </a:p>
          <a:p>
            <a:pPr lvl="3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Both languages are supported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endParaRPr lang="en-US" sz="2000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2000" dirty="0">
                <a:solidFill>
                  <a:schemeClr val="tx1"/>
                </a:solidFill>
                <a:latin typeface="+mn-lt"/>
                <a:hlinkClick r:id="rId2"/>
              </a:rPr>
              <a:t>https://sotra.app</a:t>
            </a:r>
            <a:endParaRPr lang="en-US" sz="20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BD9ABD8-1953-845B-84BB-247B42BBDA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6774" y="1365061"/>
            <a:ext cx="6759526" cy="4351397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DDE2005-26C3-4B30-FA40-6C47060BFBF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6911309-507A-47BB-968E-8E887D2811B8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32A4F0C-E791-175D-4500-CD59D17D14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6931918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C2785A-D50D-79C8-3DF8-807F8D8FE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725199"/>
          </a:xfrm>
        </p:spPr>
        <p:txBody>
          <a:bodyPr/>
          <a:lstStyle/>
          <a:p>
            <a:r>
              <a:rPr lang="en-US" dirty="0"/>
              <a:t>Preserving Language Heritage through Speech Technology</a:t>
            </a:r>
            <a:br>
              <a:rPr lang="en-US" dirty="0"/>
            </a:br>
            <a:r>
              <a:rPr lang="en-US" sz="2000" dirty="0">
                <a:latin typeface="Frutiger LT Com 45 Light" panose="020B0303030504020204" pitchFamily="34" charset="0"/>
              </a:rPr>
              <a:t>Live Translation - </a:t>
            </a:r>
            <a:r>
              <a:rPr lang="en-US" sz="2000" dirty="0" err="1">
                <a:latin typeface="Frutiger LT Com 45 Light" panose="020B0303030504020204" pitchFamily="34" charset="0"/>
              </a:rPr>
              <a:t>Europeada</a:t>
            </a:r>
            <a:r>
              <a:rPr lang="en-US" sz="2000" dirty="0">
                <a:latin typeface="Frutiger LT Com 45 Light" panose="020B0303030504020204" pitchFamily="34" charset="0"/>
              </a:rPr>
              <a:t> </a:t>
            </a:r>
            <a:endParaRPr lang="de-DE" sz="2000" dirty="0">
              <a:latin typeface="Frutiger LT Com 45 Light" panose="020B0303030504020204" pitchFamily="34" charset="0"/>
            </a:endParaRPr>
          </a:p>
        </p:txBody>
      </p:sp>
      <p:pic>
        <p:nvPicPr>
          <p:cNvPr id="7" name="Inhaltsplatzhalter 6">
            <a:hlinkClick r:id="rId2"/>
            <a:extLst>
              <a:ext uri="{FF2B5EF4-FFF2-40B4-BE49-F238E27FC236}">
                <a16:creationId xmlns:a16="http://schemas.microsoft.com/office/drawing/2014/main" id="{0D38C029-CD04-7E44-BDBF-D89D9CD212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418897" y="1275874"/>
            <a:ext cx="8586951" cy="4830161"/>
          </a:xfr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D24C8AD-79A9-470C-9A93-0621E8BFA59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B2D97DC-A179-4BD3-8091-8B4B020CC7B3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CA9EBB-D71B-5F6C-FC47-DABC5A502E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846985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C2785A-D50D-79C8-3DF8-807F8D8FE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725199"/>
          </a:xfrm>
        </p:spPr>
        <p:txBody>
          <a:bodyPr/>
          <a:lstStyle/>
          <a:p>
            <a:r>
              <a:rPr lang="en-US" dirty="0"/>
              <a:t>Preserving Language Heritage through Speech Technology</a:t>
            </a:r>
            <a:br>
              <a:rPr lang="en-US" dirty="0"/>
            </a:br>
            <a:r>
              <a:rPr lang="de-DE" sz="2000" dirty="0">
                <a:latin typeface="Frutiger LT Com 45 Light" panose="020B0303030504020204" pitchFamily="34" charset="0"/>
              </a:rPr>
              <a:t>Speech Synthesi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D24C8AD-79A9-470C-9A93-0621E8BFA59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B2D97DC-A179-4BD3-8091-8B4B020CC7B3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CA9EBB-D71B-5F6C-FC47-DABC5A502E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BD25A98-F0BC-CAF0-3BC1-15BFB146D2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2AF10BB9-589B-4BA2-8410-B4CBDDAD470F}"/>
              </a:ext>
            </a:extLst>
          </p:cNvPr>
          <p:cNvSpPr txBox="1">
            <a:spLocks/>
          </p:cNvSpPr>
          <p:nvPr/>
        </p:nvSpPr>
        <p:spPr>
          <a:xfrm>
            <a:off x="7994221" y="5725414"/>
            <a:ext cx="2947988" cy="30829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aussia.de/bamborak/</a:t>
            </a:r>
            <a:endParaRPr lang="de-DE"/>
          </a:p>
          <a:p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3BD4FFB-DB00-5900-0FF6-C9677EAA6AA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04370" y="978440"/>
            <a:ext cx="2904269" cy="460248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24D600F-5A91-1D8C-E9DA-F6EBFDAEDB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9172" y="1339774"/>
            <a:ext cx="4902600" cy="4708010"/>
          </a:xfrm>
          <a:prstGeom prst="rect">
            <a:avLst/>
          </a:prstGeom>
        </p:spPr>
      </p:pic>
      <p:pic>
        <p:nvPicPr>
          <p:cNvPr id="11" name="mary_tts_hsb">
            <a:hlinkClick r:id="" action="ppaction://media"/>
            <a:extLst>
              <a:ext uri="{FF2B5EF4-FFF2-40B4-BE49-F238E27FC236}">
                <a16:creationId xmlns:a16="http://schemas.microsoft.com/office/drawing/2014/main" id="{2C876B4E-B6A1-37EE-1C0F-9CD32ADC7EC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6912561" y="2367995"/>
            <a:ext cx="487363" cy="48736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44B6E297-E8E6-CE40-1473-1602CBF6E20A}"/>
              </a:ext>
            </a:extLst>
          </p:cNvPr>
          <p:cNvSpPr txBox="1"/>
          <p:nvPr/>
        </p:nvSpPr>
        <p:spPr>
          <a:xfrm>
            <a:off x="3242450" y="2196179"/>
            <a:ext cx="382070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b="1" dirty="0">
                <a:solidFill>
                  <a:srgbClr val="005B7F"/>
                </a:solidFill>
              </a:rPr>
              <a:t>Upper </a:t>
            </a:r>
            <a:r>
              <a:rPr lang="de-DE" sz="1600" b="1" dirty="0" err="1">
                <a:solidFill>
                  <a:srgbClr val="005B7F"/>
                </a:solidFill>
              </a:rPr>
              <a:t>Sorbian</a:t>
            </a:r>
            <a:r>
              <a:rPr lang="de-DE" sz="1600" b="1" dirty="0">
                <a:solidFill>
                  <a:srgbClr val="005B7F"/>
                </a:solidFill>
              </a:rPr>
              <a:t>:</a:t>
            </a:r>
          </a:p>
          <a:p>
            <a:endParaRPr lang="de-DE" sz="1600" b="1" dirty="0"/>
          </a:p>
          <a:p>
            <a:r>
              <a:rPr lang="de-DE" sz="1600" b="1" i="1" dirty="0"/>
              <a:t>„</a:t>
            </a:r>
            <a:r>
              <a:rPr lang="de-DE" sz="1600" i="1" dirty="0" err="1"/>
              <a:t>Witajće</a:t>
            </a:r>
            <a:r>
              <a:rPr lang="de-DE" sz="1600" i="1" dirty="0"/>
              <a:t> w </a:t>
            </a:r>
            <a:r>
              <a:rPr lang="de-DE" sz="1600" i="1" dirty="0" err="1"/>
              <a:t>swěće</a:t>
            </a:r>
            <a:r>
              <a:rPr lang="de-DE" sz="1600" i="1" dirty="0"/>
              <a:t> </a:t>
            </a:r>
            <a:r>
              <a:rPr lang="de-DE" sz="1600" i="1" dirty="0" err="1"/>
              <a:t>rěčneje</a:t>
            </a:r>
            <a:r>
              <a:rPr lang="de-DE" sz="1600" i="1" dirty="0"/>
              <a:t> </a:t>
            </a:r>
            <a:r>
              <a:rPr lang="de-DE" sz="1600" i="1" dirty="0" err="1"/>
              <a:t>syntezy</a:t>
            </a:r>
            <a:r>
              <a:rPr lang="de-DE" sz="1600" i="1" dirty="0"/>
              <a:t>!“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5B376C6-6A92-5799-652A-D095C2FEBAB0}"/>
              </a:ext>
            </a:extLst>
          </p:cNvPr>
          <p:cNvSpPr txBox="1"/>
          <p:nvPr/>
        </p:nvSpPr>
        <p:spPr>
          <a:xfrm>
            <a:off x="3264220" y="3496373"/>
            <a:ext cx="412686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b="1" dirty="0">
                <a:solidFill>
                  <a:srgbClr val="005B7F"/>
                </a:solidFill>
              </a:rPr>
              <a:t>Lower </a:t>
            </a:r>
            <a:r>
              <a:rPr lang="de-DE" sz="1600" b="1" dirty="0" err="1">
                <a:solidFill>
                  <a:srgbClr val="005B7F"/>
                </a:solidFill>
              </a:rPr>
              <a:t>Sorbian</a:t>
            </a:r>
            <a:r>
              <a:rPr lang="de-DE" sz="1600" b="1" dirty="0">
                <a:solidFill>
                  <a:srgbClr val="005B7F"/>
                </a:solidFill>
              </a:rPr>
              <a:t>:</a:t>
            </a:r>
          </a:p>
          <a:p>
            <a:endParaRPr lang="de-DE" sz="1600" b="1" dirty="0"/>
          </a:p>
          <a:p>
            <a:r>
              <a:rPr lang="de-DE" sz="1600" i="1" dirty="0"/>
              <a:t>„</a:t>
            </a:r>
            <a:r>
              <a:rPr lang="de-DE" sz="1600" i="1" dirty="0" err="1"/>
              <a:t>Witajśo</a:t>
            </a:r>
            <a:r>
              <a:rPr lang="de-DE" sz="1600" i="1" dirty="0"/>
              <a:t> w </a:t>
            </a:r>
            <a:r>
              <a:rPr lang="de-DE" sz="1600" i="1" dirty="0" err="1"/>
              <a:t>swěśe</a:t>
            </a:r>
            <a:r>
              <a:rPr lang="de-DE" sz="1600" i="1" dirty="0"/>
              <a:t> </a:t>
            </a:r>
            <a:r>
              <a:rPr lang="de-DE" sz="1600" i="1" dirty="0" err="1"/>
              <a:t>rěcneje</a:t>
            </a:r>
            <a:r>
              <a:rPr lang="de-DE" sz="1600" i="1" dirty="0"/>
              <a:t> </a:t>
            </a:r>
            <a:r>
              <a:rPr lang="de-DE" sz="1600" i="1" dirty="0" err="1"/>
              <a:t>synteze</a:t>
            </a:r>
            <a:r>
              <a:rPr lang="de-DE" sz="1600" i="1" dirty="0"/>
              <a:t>!“</a:t>
            </a:r>
          </a:p>
        </p:txBody>
      </p:sp>
      <p:pic>
        <p:nvPicPr>
          <p:cNvPr id="14" name="mary_tts_dsb">
            <a:hlinkClick r:id="" action="ppaction://media"/>
            <a:extLst>
              <a:ext uri="{FF2B5EF4-FFF2-40B4-BE49-F238E27FC236}">
                <a16:creationId xmlns:a16="http://schemas.microsoft.com/office/drawing/2014/main" id="{D4F114BB-D103-FB26-9CC8-4B5738197267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6973521" y="3911871"/>
            <a:ext cx="487363" cy="487363"/>
          </a:xfrm>
          <a:prstGeom prst="rect">
            <a:avLst/>
          </a:prstGeom>
        </p:spPr>
      </p:pic>
      <p:pic>
        <p:nvPicPr>
          <p:cNvPr id="15" name="bamborak">
            <a:hlinkClick r:id="" action="ppaction://media"/>
            <a:extLst>
              <a:ext uri="{FF2B5EF4-FFF2-40B4-BE49-F238E27FC236}">
                <a16:creationId xmlns:a16="http://schemas.microsoft.com/office/drawing/2014/main" id="{7B66E7C4-5D4D-C7DF-CFC2-20D53B12346E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0778442" y="2371451"/>
            <a:ext cx="487363" cy="487363"/>
          </a:xfrm>
          <a:prstGeom prst="rect">
            <a:avLst/>
          </a:prstGeom>
        </p:spPr>
      </p:pic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EC30FEDE-4CC6-54B7-71EE-9BE7D8A23B9C}"/>
              </a:ext>
            </a:extLst>
          </p:cNvPr>
          <p:cNvSpPr txBox="1">
            <a:spLocks/>
          </p:cNvSpPr>
          <p:nvPr/>
        </p:nvSpPr>
        <p:spPr>
          <a:xfrm>
            <a:off x="903862" y="4951652"/>
            <a:ext cx="4720716" cy="24531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ts-juro-matej.serbski-institut.de/marytts/</a:t>
            </a:r>
            <a:r>
              <a:rPr lang="en-US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5411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62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2853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3605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100000">
                <p:cTn id="1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  <p:audio>
              <p:cMediaNode vol="80000">
                <p:cTn id="1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  <p:audio>
              <p:cMediaNode vol="8000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5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9009CA-CC1A-977D-6FC3-AE1D39109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382733"/>
          </a:xfrm>
        </p:spPr>
        <p:txBody>
          <a:bodyPr/>
          <a:lstStyle/>
          <a:p>
            <a:r>
              <a:rPr lang="de-DE" dirty="0" err="1"/>
              <a:t>Similariti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erbian</a:t>
            </a:r>
            <a:r>
              <a:rPr lang="de-DE" dirty="0"/>
              <a:t>?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4E2C8CAA-4F2A-5695-9B93-0433B8DF6A0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87911821"/>
              </p:ext>
            </p:extLst>
          </p:nvPr>
        </p:nvGraphicFramePr>
        <p:xfrm>
          <a:off x="548504" y="1573542"/>
          <a:ext cx="10944224" cy="41452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736056">
                  <a:extLst>
                    <a:ext uri="{9D8B030D-6E8A-4147-A177-3AD203B41FA5}">
                      <a16:colId xmlns:a16="http://schemas.microsoft.com/office/drawing/2014/main" val="691403838"/>
                    </a:ext>
                  </a:extLst>
                </a:gridCol>
                <a:gridCol w="2736056">
                  <a:extLst>
                    <a:ext uri="{9D8B030D-6E8A-4147-A177-3AD203B41FA5}">
                      <a16:colId xmlns:a16="http://schemas.microsoft.com/office/drawing/2014/main" val="3182224906"/>
                    </a:ext>
                  </a:extLst>
                </a:gridCol>
                <a:gridCol w="2736056">
                  <a:extLst>
                    <a:ext uri="{9D8B030D-6E8A-4147-A177-3AD203B41FA5}">
                      <a16:colId xmlns:a16="http://schemas.microsoft.com/office/drawing/2014/main" val="1749524976"/>
                    </a:ext>
                  </a:extLst>
                </a:gridCol>
                <a:gridCol w="2736056">
                  <a:extLst>
                    <a:ext uri="{9D8B030D-6E8A-4147-A177-3AD203B41FA5}">
                      <a16:colId xmlns:a16="http://schemas.microsoft.com/office/drawing/2014/main" val="1789658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hsb-DE" sz="18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English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sb-DE" sz="18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Upper Sorbian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sb-DE" sz="18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ower Sorbian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sb-DE" sz="18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Serbian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85854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ood day, how are you?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Witaj, kak so tebi dźe?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Witaj, kak se śi źo?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Dobar dan, kako si?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89221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sb-DE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 like to read books.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Ja rady knihi čitam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Ja rad knigły cytam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Ja volim da čitam knjige.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00764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y mom is at home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oja mać je doma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ója</a:t>
                      </a:r>
                      <a: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ama</a:t>
                      </a:r>
                      <a: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jo</a:t>
                      </a:r>
                      <a: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doma</a:t>
                      </a:r>
                      <a: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oja mama je kod kuće.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87928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sb-DE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oday is a good day.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Dźensa je rjany dźeń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Źinsa jo rědny źeń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Danas je lep dan.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8785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sb-DE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oday we need to buy food.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Dźensa dyrbimy </a:t>
                      </a:r>
                      <a:b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zežiwidła nakupować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Źinsa</a:t>
                      </a:r>
                      <a: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usymy</a:t>
                      </a:r>
                      <a: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b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de-DE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zežywidła</a:t>
                      </a:r>
                      <a: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nakupowaś</a:t>
                      </a:r>
                      <a: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Danas </a:t>
                      </a:r>
                      <a:r>
                        <a:rPr lang="de-DE" sz="180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treba</a:t>
                      </a:r>
                      <a:r>
                        <a:rPr lang="de-DE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br>
                        <a:rPr lang="de-DE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de-DE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da </a:t>
                      </a:r>
                      <a:r>
                        <a:rPr lang="de-DE" sz="180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kupimo</a:t>
                      </a:r>
                      <a:r>
                        <a:rPr lang="de-DE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hranu</a:t>
                      </a:r>
                      <a:r>
                        <a:rPr lang="de-DE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25169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sb-DE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Can I help you?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óžu ći pomhać?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ógu</a:t>
                      </a:r>
                      <a: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śi</a:t>
                      </a:r>
                      <a: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omagaś</a:t>
                      </a:r>
                      <a:r>
                        <a:rPr lang="de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?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ogu li ti pomoći?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2551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Excuse me, where is that town?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Wodaj, hdźe je tute město?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Wódaj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,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źo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jo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oś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to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ěsto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?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zvini, gde je taj grad?</a:t>
                      </a:r>
                      <a:endParaRPr lang="de-DE" sz="18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57573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 have one hour of time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Ja mam jednu </a:t>
                      </a:r>
                      <a:b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hodźinu chwile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am jadnu góźinu </a:t>
                      </a:r>
                      <a:b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chyle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sb-DE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mam vremena jedan sat.</a:t>
                      </a:r>
                      <a:endParaRPr lang="de-DE" sz="18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9880711"/>
                  </a:ext>
                </a:extLst>
              </a:tr>
            </a:tbl>
          </a:graphicData>
        </a:graphic>
      </p:graphicFrame>
      <p:pic>
        <p:nvPicPr>
          <p:cNvPr id="3" name="hsb_Witaj_kak_so_tebi_dze">
            <a:hlinkClick r:id="" action="ppaction://media"/>
            <a:extLst>
              <a:ext uri="{FF2B5EF4-FFF2-40B4-BE49-F238E27FC236}">
                <a16:creationId xmlns:a16="http://schemas.microsoft.com/office/drawing/2014/main" id="{B32322AE-02E0-A43C-CFB3-19D2822C378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701528" y="1954813"/>
            <a:ext cx="360000" cy="360000"/>
          </a:xfrm>
          <a:prstGeom prst="rect">
            <a:avLst/>
          </a:prstGeom>
        </p:spPr>
      </p:pic>
      <p:pic>
        <p:nvPicPr>
          <p:cNvPr id="4" name="hsb_Ja_rady_knihi_citam">
            <a:hlinkClick r:id="" action="ppaction://media"/>
            <a:extLst>
              <a:ext uri="{FF2B5EF4-FFF2-40B4-BE49-F238E27FC236}">
                <a16:creationId xmlns:a16="http://schemas.microsoft.com/office/drawing/2014/main" id="{CFA3A17B-F3FF-E102-2124-2986420046DA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701528" y="2336084"/>
            <a:ext cx="360000" cy="360000"/>
          </a:xfrm>
          <a:prstGeom prst="rect">
            <a:avLst/>
          </a:prstGeom>
        </p:spPr>
      </p:pic>
      <p:pic>
        <p:nvPicPr>
          <p:cNvPr id="5" name="hsb_Moja_mac_je_doma">
            <a:hlinkClick r:id="" action="ppaction://media"/>
            <a:extLst>
              <a:ext uri="{FF2B5EF4-FFF2-40B4-BE49-F238E27FC236}">
                <a16:creationId xmlns:a16="http://schemas.microsoft.com/office/drawing/2014/main" id="{0DD7656C-F248-FDB8-A7C8-B14DBC8498CA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701528" y="2717355"/>
            <a:ext cx="360000" cy="360000"/>
          </a:xfrm>
          <a:prstGeom prst="rect">
            <a:avLst/>
          </a:prstGeom>
        </p:spPr>
      </p:pic>
      <p:pic>
        <p:nvPicPr>
          <p:cNvPr id="7" name="hsb_Dzensa_je_rjany_dzen">
            <a:hlinkClick r:id="" action="ppaction://media"/>
            <a:extLst>
              <a:ext uri="{FF2B5EF4-FFF2-40B4-BE49-F238E27FC236}">
                <a16:creationId xmlns:a16="http://schemas.microsoft.com/office/drawing/2014/main" id="{A8443CAC-B9FA-2A84-AF4B-8EF80041FAE2}"/>
              </a:ext>
            </a:extLst>
          </p:cNvPr>
          <p:cNvPicPr>
            <a:picLocks noChangeAspect="1"/>
          </p:cNvPicPr>
          <p:nvPr>
            <a:audi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701528" y="3098626"/>
            <a:ext cx="360000" cy="360000"/>
          </a:xfrm>
          <a:prstGeom prst="rect">
            <a:avLst/>
          </a:prstGeom>
        </p:spPr>
      </p:pic>
      <p:pic>
        <p:nvPicPr>
          <p:cNvPr id="8" name="hsb_Dzensa_dyrbimy_zeziwidla_nakupowac">
            <a:hlinkClick r:id="" action="ppaction://media"/>
            <a:extLst>
              <a:ext uri="{FF2B5EF4-FFF2-40B4-BE49-F238E27FC236}">
                <a16:creationId xmlns:a16="http://schemas.microsoft.com/office/drawing/2014/main" id="{FCA20AFF-08EE-D07B-582D-2D6DC888BAF6}"/>
              </a:ext>
            </a:extLst>
          </p:cNvPr>
          <p:cNvPicPr>
            <a:picLocks noChangeAspect="1"/>
          </p:cNvPicPr>
          <p:nvPr>
            <a:audioFile r:link="rId10"/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700846" y="3667453"/>
            <a:ext cx="360000" cy="360000"/>
          </a:xfrm>
          <a:prstGeom prst="rect">
            <a:avLst/>
          </a:prstGeom>
        </p:spPr>
      </p:pic>
      <p:pic>
        <p:nvPicPr>
          <p:cNvPr id="9" name="hsb_Mozu_ci_pomhac">
            <a:hlinkClick r:id="" action="ppaction://media"/>
            <a:extLst>
              <a:ext uri="{FF2B5EF4-FFF2-40B4-BE49-F238E27FC236}">
                <a16:creationId xmlns:a16="http://schemas.microsoft.com/office/drawing/2014/main" id="{FD64BCDC-63DD-31E2-4621-5FF0CA5DC2C7}"/>
              </a:ext>
            </a:extLst>
          </p:cNvPr>
          <p:cNvPicPr>
            <a:picLocks noChangeAspect="1"/>
          </p:cNvPicPr>
          <p:nvPr>
            <a:audioFile r:link="rId12"/>
            <p:extLst>
              <p:ext uri="{DAA4B4D4-6D71-4841-9C94-3DE7FCFB9230}">
                <p14:media xmlns:p14="http://schemas.microsoft.com/office/powerpoint/2010/main" r:embed="rId11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700846" y="4078963"/>
            <a:ext cx="360000" cy="360000"/>
          </a:xfrm>
          <a:prstGeom prst="rect">
            <a:avLst/>
          </a:prstGeom>
        </p:spPr>
      </p:pic>
      <p:pic>
        <p:nvPicPr>
          <p:cNvPr id="11" name="hsb_Ja_mam_jednu_hodźinu_chwile">
            <a:hlinkClick r:id="" action="ppaction://media"/>
            <a:extLst>
              <a:ext uri="{FF2B5EF4-FFF2-40B4-BE49-F238E27FC236}">
                <a16:creationId xmlns:a16="http://schemas.microsoft.com/office/drawing/2014/main" id="{3B6F07EF-AE3D-DFA7-043D-61942A3C94A7}"/>
              </a:ext>
            </a:extLst>
          </p:cNvPr>
          <p:cNvPicPr>
            <a:picLocks noChangeAspect="1"/>
          </p:cNvPicPr>
          <p:nvPr>
            <a:audioFile r:link="rId14"/>
            <p:extLst>
              <p:ext uri="{DAA4B4D4-6D71-4841-9C94-3DE7FCFB9230}">
                <p14:media xmlns:p14="http://schemas.microsoft.com/office/powerpoint/2010/main" r:embed="rId13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671126" y="5236120"/>
            <a:ext cx="360000" cy="360000"/>
          </a:xfrm>
          <a:prstGeom prst="rect">
            <a:avLst/>
          </a:prstGeom>
        </p:spPr>
      </p:pic>
      <p:pic>
        <p:nvPicPr>
          <p:cNvPr id="12" name="dsb_Witaj_kak_se_si_zo">
            <a:hlinkClick r:id="" action="ppaction://media"/>
            <a:extLst>
              <a:ext uri="{FF2B5EF4-FFF2-40B4-BE49-F238E27FC236}">
                <a16:creationId xmlns:a16="http://schemas.microsoft.com/office/drawing/2014/main" id="{51927D3B-F4D1-65E4-EAD6-DD4445123C36}"/>
              </a:ext>
            </a:extLst>
          </p:cNvPr>
          <p:cNvPicPr>
            <a:picLocks noChangeAspect="1"/>
          </p:cNvPicPr>
          <p:nvPr>
            <a:audioFile r:link="rId16"/>
            <p:extLst>
              <p:ext uri="{DAA4B4D4-6D71-4841-9C94-3DE7FCFB9230}">
                <p14:media xmlns:p14="http://schemas.microsoft.com/office/powerpoint/2010/main" r:embed="rId15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17128" y="1954813"/>
            <a:ext cx="360000" cy="360000"/>
          </a:xfrm>
          <a:prstGeom prst="rect">
            <a:avLst/>
          </a:prstGeom>
        </p:spPr>
      </p:pic>
      <p:pic>
        <p:nvPicPr>
          <p:cNvPr id="13" name="dsb_Ja_rad_knigly_cytam">
            <a:hlinkClick r:id="" action="ppaction://media"/>
            <a:extLst>
              <a:ext uri="{FF2B5EF4-FFF2-40B4-BE49-F238E27FC236}">
                <a16:creationId xmlns:a16="http://schemas.microsoft.com/office/drawing/2014/main" id="{EDB48639-05D8-12A6-A824-E335EAB6790C}"/>
              </a:ext>
            </a:extLst>
          </p:cNvPr>
          <p:cNvPicPr>
            <a:picLocks noChangeAspect="1"/>
          </p:cNvPicPr>
          <p:nvPr>
            <a:audioFile r:link="rId18"/>
            <p:extLst>
              <p:ext uri="{DAA4B4D4-6D71-4841-9C94-3DE7FCFB9230}">
                <p14:media xmlns:p14="http://schemas.microsoft.com/office/powerpoint/2010/main" r:embed="rId17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17128" y="2357355"/>
            <a:ext cx="360000" cy="360000"/>
          </a:xfrm>
          <a:prstGeom prst="rect">
            <a:avLst/>
          </a:prstGeom>
        </p:spPr>
      </p:pic>
      <p:pic>
        <p:nvPicPr>
          <p:cNvPr id="14" name="dsb_Moja_mama_jo_doma">
            <a:hlinkClick r:id="" action="ppaction://media"/>
            <a:extLst>
              <a:ext uri="{FF2B5EF4-FFF2-40B4-BE49-F238E27FC236}">
                <a16:creationId xmlns:a16="http://schemas.microsoft.com/office/drawing/2014/main" id="{7C713B17-926F-18B4-5878-97BF7101DC60}"/>
              </a:ext>
            </a:extLst>
          </p:cNvPr>
          <p:cNvPicPr>
            <a:picLocks noChangeAspect="1"/>
          </p:cNvPicPr>
          <p:nvPr>
            <a:audioFile r:link="rId20"/>
            <p:extLst>
              <p:ext uri="{DAA4B4D4-6D71-4841-9C94-3DE7FCFB9230}">
                <p14:media xmlns:p14="http://schemas.microsoft.com/office/powerpoint/2010/main" r:embed="rId19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17128" y="2689718"/>
            <a:ext cx="360000" cy="360000"/>
          </a:xfrm>
          <a:prstGeom prst="rect">
            <a:avLst/>
          </a:prstGeom>
        </p:spPr>
      </p:pic>
      <p:pic>
        <p:nvPicPr>
          <p:cNvPr id="15" name="dsb_Zinsa_jo_redny_zen">
            <a:hlinkClick r:id="" action="ppaction://media"/>
            <a:extLst>
              <a:ext uri="{FF2B5EF4-FFF2-40B4-BE49-F238E27FC236}">
                <a16:creationId xmlns:a16="http://schemas.microsoft.com/office/drawing/2014/main" id="{F1827F09-AA59-3FCF-5334-88197659FD80}"/>
              </a:ext>
            </a:extLst>
          </p:cNvPr>
          <p:cNvPicPr>
            <a:picLocks noChangeAspect="1"/>
          </p:cNvPicPr>
          <p:nvPr>
            <a:audioFile r:link="rId22"/>
            <p:extLst>
              <p:ext uri="{DAA4B4D4-6D71-4841-9C94-3DE7FCFB9230}">
                <p14:media xmlns:p14="http://schemas.microsoft.com/office/powerpoint/2010/main" r:embed="rId21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25938" y="3077355"/>
            <a:ext cx="360000" cy="360000"/>
          </a:xfrm>
          <a:prstGeom prst="rect">
            <a:avLst/>
          </a:prstGeom>
        </p:spPr>
      </p:pic>
      <p:pic>
        <p:nvPicPr>
          <p:cNvPr id="16" name="dsb_Zinsa_musymy_zezywidla_nakupowas">
            <a:hlinkClick r:id="" action="ppaction://media"/>
            <a:extLst>
              <a:ext uri="{FF2B5EF4-FFF2-40B4-BE49-F238E27FC236}">
                <a16:creationId xmlns:a16="http://schemas.microsoft.com/office/drawing/2014/main" id="{EF6F52E1-2F73-8B3D-28E6-52498C249F41}"/>
              </a:ext>
            </a:extLst>
          </p:cNvPr>
          <p:cNvPicPr>
            <a:picLocks noChangeAspect="1"/>
          </p:cNvPicPr>
          <p:nvPr>
            <a:audioFile r:link="rId24"/>
            <p:extLst>
              <p:ext uri="{DAA4B4D4-6D71-4841-9C94-3DE7FCFB9230}">
                <p14:media xmlns:p14="http://schemas.microsoft.com/office/powerpoint/2010/main" r:embed="rId23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16787" y="3667453"/>
            <a:ext cx="360000" cy="360000"/>
          </a:xfrm>
          <a:prstGeom prst="rect">
            <a:avLst/>
          </a:prstGeom>
        </p:spPr>
      </p:pic>
      <p:pic>
        <p:nvPicPr>
          <p:cNvPr id="17" name="dsb_Mogu_si_pomagas">
            <a:hlinkClick r:id="" action="ppaction://media"/>
            <a:extLst>
              <a:ext uri="{FF2B5EF4-FFF2-40B4-BE49-F238E27FC236}">
                <a16:creationId xmlns:a16="http://schemas.microsoft.com/office/drawing/2014/main" id="{C789704D-CEDC-DBEF-141D-21D24DD0A723}"/>
              </a:ext>
            </a:extLst>
          </p:cNvPr>
          <p:cNvPicPr>
            <a:picLocks noChangeAspect="1"/>
          </p:cNvPicPr>
          <p:nvPr>
            <a:audioFile r:link="rId26"/>
            <p:extLst>
              <p:ext uri="{DAA4B4D4-6D71-4841-9C94-3DE7FCFB9230}">
                <p14:media xmlns:p14="http://schemas.microsoft.com/office/powerpoint/2010/main" r:embed="rId25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16787" y="4083108"/>
            <a:ext cx="360000" cy="360000"/>
          </a:xfrm>
          <a:prstGeom prst="rect">
            <a:avLst/>
          </a:prstGeom>
        </p:spPr>
      </p:pic>
      <p:pic>
        <p:nvPicPr>
          <p:cNvPr id="19" name="dsb_Mam_jadnu_gozinu_chyle">
            <a:hlinkClick r:id="" action="ppaction://media"/>
            <a:extLst>
              <a:ext uri="{FF2B5EF4-FFF2-40B4-BE49-F238E27FC236}">
                <a16:creationId xmlns:a16="http://schemas.microsoft.com/office/drawing/2014/main" id="{C1ADA6CC-4ADB-1C9C-36CC-D069639CA1C6}"/>
              </a:ext>
            </a:extLst>
          </p:cNvPr>
          <p:cNvPicPr>
            <a:picLocks noChangeAspect="1"/>
          </p:cNvPicPr>
          <p:nvPr>
            <a:audioFile r:link="rId28"/>
            <p:extLst>
              <p:ext uri="{DAA4B4D4-6D71-4841-9C94-3DE7FCFB9230}">
                <p14:media xmlns:p14="http://schemas.microsoft.com/office/powerpoint/2010/main" r:embed="rId27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01927" y="5241489"/>
            <a:ext cx="360000" cy="360000"/>
          </a:xfrm>
          <a:prstGeom prst="rect">
            <a:avLst/>
          </a:prstGeom>
        </p:spPr>
      </p:pic>
      <p:pic>
        <p:nvPicPr>
          <p:cNvPr id="21" name="hsb_Wodaj_hdze_je_tute_mesto">
            <a:hlinkClick r:id="" action="ppaction://media"/>
            <a:extLst>
              <a:ext uri="{FF2B5EF4-FFF2-40B4-BE49-F238E27FC236}">
                <a16:creationId xmlns:a16="http://schemas.microsoft.com/office/drawing/2014/main" id="{D67F8AB2-1039-3252-3F86-36F6106FA8CF}"/>
              </a:ext>
            </a:extLst>
          </p:cNvPr>
          <p:cNvPicPr>
            <a:picLocks noChangeAspect="1"/>
          </p:cNvPicPr>
          <p:nvPr>
            <a:audioFile r:link="rId30"/>
            <p:extLst>
              <p:ext uri="{DAA4B4D4-6D71-4841-9C94-3DE7FCFB9230}">
                <p14:media xmlns:p14="http://schemas.microsoft.com/office/powerpoint/2010/main" r:embed="rId29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700846" y="4609995"/>
            <a:ext cx="360000" cy="360000"/>
          </a:xfrm>
          <a:prstGeom prst="rect">
            <a:avLst/>
          </a:prstGeom>
        </p:spPr>
      </p:pic>
      <p:pic>
        <p:nvPicPr>
          <p:cNvPr id="10" name="dsb_Wodaj_zo_jo_tos_to_mesto">
            <a:hlinkClick r:id="" action="ppaction://media"/>
            <a:extLst>
              <a:ext uri="{FF2B5EF4-FFF2-40B4-BE49-F238E27FC236}">
                <a16:creationId xmlns:a16="http://schemas.microsoft.com/office/drawing/2014/main" id="{F48707BE-8E4A-7544-5D16-8F91762CAE9F}"/>
              </a:ext>
            </a:extLst>
          </p:cNvPr>
          <p:cNvPicPr>
            <a:picLocks noChangeAspect="1"/>
          </p:cNvPicPr>
          <p:nvPr>
            <a:audioFile r:link="rId32"/>
            <p:extLst>
              <p:ext uri="{DAA4B4D4-6D71-4841-9C94-3DE7FCFB9230}">
                <p14:media xmlns:p14="http://schemas.microsoft.com/office/powerpoint/2010/main" r:embed="rId31"/>
              </p:ext>
            </p:extLst>
          </p:nvPr>
        </p:nvPicPr>
        <p:blipFill>
          <a:blip r:embed="rId3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01927" y="4609995"/>
            <a:ext cx="360000" cy="360000"/>
          </a:xfrm>
          <a:prstGeom prst="rect">
            <a:avLst/>
          </a:prstGeom>
        </p:spPr>
      </p:pic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98D624AA-3D69-30A7-A949-D9318E5BF23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751CD4A-9A6C-40E1-ADF6-492A60FB711F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32758CB7-B694-CDC6-4851-6FB0A591EF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474689110"/>
      </p:ext>
    </p:extLst>
  </p:cSld>
  <p:clrMapOvr>
    <a:masterClrMapping/>
  </p:clrMapOvr>
  <p:timing>
    <p:tnLst>
      <p:par>
        <p:cTn id="1" dur="indefinite" restart="never" nodeType="tmRoot">
          <p:childTnLst>
            <p:audio>
              <p:cMediaNode vol="80000">
                <p:cTn id="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audio>
              <p:cMediaNode vol="80000">
                <p:cTn id="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audio>
              <p:cMediaNode vol="80000">
                <p:cTn id="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  <p:audio>
              <p:cMediaNode vol="80000">
                <p:cTn id="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  <p:audio>
              <p:cMediaNode vol="80000">
                <p:cTn id="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  <p:audio>
              <p:cMediaNode vol="80000">
                <p:cTn id="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  <p:audio>
              <p:cMediaNode vol="8000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  <p:audio>
              <p:cMediaNode vol="80000">
                <p:cTn id="1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  <p:audio>
              <p:cMediaNode vol="80000">
                <p:cTn id="1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5"/>
                </p:tgtEl>
              </p:cMediaNode>
            </p:audio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6"/>
                </p:tgtEl>
              </p:cMediaNode>
            </p:audio>
            <p:audio>
              <p:cMediaNode vol="80000">
                <p:cTn id="1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audio>
            <p:audio>
              <p:cMediaNode vol="80000">
                <p:cTn id="1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9"/>
                </p:tgtEl>
              </p:cMediaNode>
            </p:audio>
            <p:audio>
              <p:cMediaNode vol="80000">
                <p:cTn id="1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1"/>
                </p:tgtEl>
              </p:cMediaNode>
            </p:audio>
            <p:audio>
              <p:cMediaNode vol="8000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324570-A479-F949-1142-494E95727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788999"/>
          </a:xfrm>
        </p:spPr>
        <p:txBody>
          <a:bodyPr/>
          <a:lstStyle/>
          <a:p>
            <a:r>
              <a:rPr lang="en-US" b="1" noProof="0" dirty="0"/>
              <a:t>Preserving Language Heritage Through Speech Technology: </a:t>
            </a:r>
            <a:br>
              <a:rPr lang="en-US" b="1" noProof="0" dirty="0"/>
            </a:br>
            <a:r>
              <a:rPr lang="en-US" b="1" noProof="0" dirty="0"/>
              <a:t>The Case of Upper Sorbian – Part II</a:t>
            </a:r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D7816C65-801B-DA4C-FA1F-ED35870240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2300" y="2353604"/>
            <a:ext cx="10944225" cy="2498138"/>
          </a:xfr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85FFD4-46F7-3D4D-3C4C-6EFE4B354B2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E8A46BA-CF70-4359-9339-0C7BC2FEE90C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2F35E3-A6C0-E477-B3E5-5603CB99A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8413215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3523863" cy="3617593"/>
          </a:xfrm>
        </p:spPr>
        <p:txBody>
          <a:bodyPr/>
          <a:lstStyle/>
          <a:p>
            <a:r>
              <a:rPr lang="en-US" dirty="0"/>
              <a:t>Contact</a:t>
            </a:r>
          </a:p>
          <a:p>
            <a:pPr lvl="1"/>
            <a:r>
              <a:rPr lang="en-US" dirty="0"/>
              <a:t>—</a:t>
            </a:r>
          </a:p>
          <a:p>
            <a:pPr lvl="2"/>
            <a:r>
              <a:rPr lang="de-DE" kern="0" dirty="0"/>
              <a:t>Ivan Kraljevski </a:t>
            </a:r>
            <a:br>
              <a:rPr lang="de-DE" kern="0" dirty="0"/>
            </a:br>
            <a:br>
              <a:rPr lang="de-DE" kern="0" dirty="0"/>
            </a:br>
            <a:r>
              <a:rPr lang="de-DE" kern="0" dirty="0"/>
              <a:t>Fraunhofer Project Group</a:t>
            </a:r>
            <a:br>
              <a:rPr lang="de-DE" kern="0" dirty="0"/>
            </a:br>
            <a:r>
              <a:rPr lang="de-DE" kern="0" dirty="0"/>
              <a:t>„</a:t>
            </a:r>
            <a:r>
              <a:rPr lang="de-DE" kern="0" dirty="0" err="1"/>
              <a:t>Cognitive</a:t>
            </a:r>
            <a:r>
              <a:rPr lang="de-DE" kern="0" dirty="0"/>
              <a:t> Material </a:t>
            </a:r>
            <a:r>
              <a:rPr lang="de-DE" kern="0" dirty="0" err="1"/>
              <a:t>Diagnostics</a:t>
            </a:r>
            <a:r>
              <a:rPr lang="de-DE" kern="0" dirty="0"/>
              <a:t>“</a:t>
            </a:r>
            <a:br>
              <a:rPr lang="de-DE" kern="0" dirty="0"/>
            </a:br>
            <a:r>
              <a:rPr lang="de-DE" kern="0" dirty="0"/>
              <a:t>Siemens-Halske-Ring 14</a:t>
            </a:r>
            <a:br>
              <a:rPr lang="de-DE" kern="0" dirty="0"/>
            </a:br>
            <a:r>
              <a:rPr lang="de-DE" kern="0" dirty="0"/>
              <a:t>03046 Cottbus</a:t>
            </a:r>
            <a:br>
              <a:rPr lang="de-DE" kern="0" dirty="0"/>
            </a:br>
            <a:br>
              <a:rPr lang="de-DE" kern="0" dirty="0"/>
            </a:br>
            <a:r>
              <a:rPr lang="de-DE" kern="0" dirty="0"/>
              <a:t>ivan.kraljevski@ikts.fraunhofer.de</a:t>
            </a:r>
            <a:br>
              <a:rPr lang="de-DE" kern="0" dirty="0"/>
            </a:br>
            <a:r>
              <a:rPr lang="de-DE" kern="0" dirty="0"/>
              <a:t>Website: b-tu.de/</a:t>
            </a:r>
            <a:r>
              <a:rPr lang="de-DE" kern="0" dirty="0" err="1"/>
              <a:t>kogmatd</a:t>
            </a:r>
            <a:r>
              <a:rPr lang="de-DE" kern="0" dirty="0"/>
              <a:t>/</a:t>
            </a:r>
            <a:endParaRPr lang="en-US" dirty="0"/>
          </a:p>
        </p:txBody>
      </p:sp>
      <p:pic>
        <p:nvPicPr>
          <p:cNvPr id="5" name="ikts_rgb_modul_send_de">
            <a:extLst>
              <a:ext uri="{FF2B5EF4-FFF2-40B4-BE49-F238E27FC236}">
                <a16:creationId xmlns:a16="http://schemas.microsoft.com/office/drawing/2014/main" id="{7D028A78-D975-A075-9588-E5F63EF9599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96162" y="476250"/>
            <a:ext cx="2512826" cy="147140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CE088A4-8445-57A3-99A4-7631AB7C260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0EB316-B69E-4BA4-9817-3A56490DE7A3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DDB371-7174-9841-ECD2-99D78723556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C5EEF4FA-F11E-0BAB-6B0C-DC957EB091BA}"/>
              </a:ext>
            </a:extLst>
          </p:cNvPr>
          <p:cNvSpPr txBox="1">
            <a:spLocks/>
          </p:cNvSpPr>
          <p:nvPr/>
        </p:nvSpPr>
        <p:spPr bwMode="gray">
          <a:xfrm>
            <a:off x="4601698" y="2926578"/>
            <a:ext cx="5267132" cy="242188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kern="0" dirty="0" err="1"/>
              <a:t>Załožba</a:t>
            </a:r>
            <a:r>
              <a:rPr lang="de-DE" kern="0" dirty="0"/>
              <a:t> </a:t>
            </a:r>
            <a:r>
              <a:rPr lang="de-DE" kern="0" dirty="0" err="1"/>
              <a:t>za</a:t>
            </a:r>
            <a:r>
              <a:rPr lang="de-DE" kern="0" dirty="0"/>
              <a:t> </a:t>
            </a:r>
            <a:r>
              <a:rPr lang="de-DE" kern="0" dirty="0" err="1"/>
              <a:t>serbski</a:t>
            </a:r>
            <a:r>
              <a:rPr lang="de-DE" kern="0" dirty="0"/>
              <a:t> lud </a:t>
            </a:r>
            <a:br>
              <a:rPr lang="de-DE" kern="0" dirty="0"/>
            </a:br>
            <a:r>
              <a:rPr lang="de-DE" kern="0" dirty="0"/>
              <a:t>/ Stiftung für das sorbische Volk</a:t>
            </a:r>
          </a:p>
          <a:p>
            <a:pPr lvl="2"/>
            <a:endParaRPr lang="de-DE" kern="0" dirty="0"/>
          </a:p>
          <a:p>
            <a:pPr lvl="2"/>
            <a:r>
              <a:rPr lang="de-DE" kern="0" dirty="0" err="1"/>
              <a:t>Póstowe</a:t>
            </a:r>
            <a:r>
              <a:rPr lang="de-DE" kern="0" dirty="0"/>
              <a:t> </a:t>
            </a:r>
            <a:r>
              <a:rPr lang="de-DE" kern="0" dirty="0" err="1"/>
              <a:t>naměsto</a:t>
            </a:r>
            <a:r>
              <a:rPr lang="de-DE" kern="0" dirty="0"/>
              <a:t> / Postplatz 2</a:t>
            </a:r>
          </a:p>
          <a:p>
            <a:pPr lvl="2"/>
            <a:r>
              <a:rPr lang="de-DE" kern="0" dirty="0"/>
              <a:t>02625 </a:t>
            </a:r>
            <a:r>
              <a:rPr lang="de-DE" kern="0" dirty="0" err="1"/>
              <a:t>Budyšin</a:t>
            </a:r>
            <a:r>
              <a:rPr lang="de-DE" kern="0" dirty="0"/>
              <a:t> / Bautzen</a:t>
            </a:r>
          </a:p>
          <a:p>
            <a:pPr lvl="2"/>
            <a:r>
              <a:rPr lang="de-DE" kern="0" dirty="0"/>
              <a:t>Telefon: +49 (0)173 589 33 95</a:t>
            </a:r>
          </a:p>
          <a:p>
            <a:pPr lvl="2"/>
            <a:endParaRPr lang="de-DE" kern="0" dirty="0"/>
          </a:p>
          <a:p>
            <a:pPr lvl="2"/>
            <a:r>
              <a:rPr lang="de-DE" kern="0" dirty="0"/>
              <a:t>sekretariat@zalozba.de</a:t>
            </a:r>
          </a:p>
          <a:p>
            <a:pPr lvl="2"/>
            <a:r>
              <a:rPr lang="de-DE" kern="0" dirty="0"/>
              <a:t> Website: stiftung.sorben.com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4EA6362-56B6-01A3-BBE0-CA8351B9E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6162" y="3776635"/>
            <a:ext cx="2493748" cy="1472400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40008373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C169E5EB-1E7D-C1EA-B0E3-F382F3EE147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5916612" cy="1011239"/>
          </a:xfrm>
        </p:spPr>
        <p:txBody>
          <a:bodyPr/>
          <a:lstStyle/>
          <a:p>
            <a:r>
              <a:rPr lang="en-US" dirty="0"/>
              <a:t>Follow us!</a:t>
            </a:r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5" name="ikts_rgb_modul_send_de">
            <a:extLst>
              <a:ext uri="{FF2B5EF4-FFF2-40B4-BE49-F238E27FC236}">
                <a16:creationId xmlns:a16="http://schemas.microsoft.com/office/drawing/2014/main" id="{7D028A78-D975-A075-9588-E5F63EF9599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96162" y="476250"/>
            <a:ext cx="2512826" cy="14714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2983C001-525A-720D-92A7-7F1BD2385878}"/>
              </a:ext>
            </a:extLst>
          </p:cNvPr>
          <p:cNvSpPr txBox="1"/>
          <p:nvPr/>
        </p:nvSpPr>
        <p:spPr>
          <a:xfrm>
            <a:off x="385296" y="3532895"/>
            <a:ext cx="73102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#weloveceramics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BA31052-AF2A-EF4B-B098-74AAFC656C39}"/>
              </a:ext>
            </a:extLst>
          </p:cNvPr>
          <p:cNvGrpSpPr/>
          <p:nvPr/>
        </p:nvGrpSpPr>
        <p:grpSpPr>
          <a:xfrm>
            <a:off x="479425" y="5189118"/>
            <a:ext cx="2701684" cy="795757"/>
            <a:chOff x="-2255971" y="8163825"/>
            <a:chExt cx="3666725" cy="1080001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28960AA4-CB26-9823-94A9-C58857B47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962609" y="8163825"/>
              <a:ext cx="1080000" cy="1080000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7D310CFD-A4DD-8532-9B47-B9D5CD647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255971" y="8163825"/>
              <a:ext cx="1079999" cy="1080000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C512E667-944C-2E64-5BBA-DB038D02429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0754" y="8163826"/>
              <a:ext cx="1080000" cy="1080000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08DF6B-4BE9-9C8D-4D63-6D40C913E8D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51E7BE-715B-4305-BE99-46AE16D9EB2A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C4A78C9-D8E3-AD07-15E7-DFC5333FA5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090076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28B117-510D-9B21-E3C1-EABA55FF90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382733"/>
          </a:xfrm>
        </p:spPr>
        <p:txBody>
          <a:bodyPr/>
          <a:lstStyle/>
          <a:p>
            <a:r>
              <a:rPr lang="de-DE" dirty="0" err="1"/>
              <a:t>Distinctive</a:t>
            </a:r>
            <a:r>
              <a:rPr lang="de-DE" dirty="0"/>
              <a:t> Feature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orbian</a:t>
            </a:r>
            <a:r>
              <a:rPr lang="de-DE" dirty="0"/>
              <a:t> </a:t>
            </a:r>
            <a:r>
              <a:rPr lang="de-DE" dirty="0" err="1"/>
              <a:t>Languages</a:t>
            </a:r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6ED655DA-21BB-05A2-627F-DA7D461CD5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01013" y="1697213"/>
            <a:ext cx="4248150" cy="4248150"/>
          </a:xfr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F5AAAD8-F292-4D57-4808-CB15EACF0D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6012" y="1626093"/>
            <a:ext cx="4406802" cy="4248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C1118148-338E-0624-3167-3734D7E00D6B}"/>
              </a:ext>
            </a:extLst>
          </p:cNvPr>
          <p:cNvSpPr txBox="1"/>
          <p:nvPr/>
        </p:nvSpPr>
        <p:spPr>
          <a:xfrm>
            <a:off x="2448911" y="1177158"/>
            <a:ext cx="1144544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Upper </a:t>
            </a:r>
            <a:r>
              <a:rPr lang="de-DE" sz="1400" dirty="0" err="1"/>
              <a:t>Sorbian</a:t>
            </a:r>
            <a:r>
              <a:rPr lang="de-DE" sz="1400" dirty="0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19B594D-668B-0536-69A0-BEEDF12793D1}"/>
              </a:ext>
            </a:extLst>
          </p:cNvPr>
          <p:cNvSpPr txBox="1"/>
          <p:nvPr/>
        </p:nvSpPr>
        <p:spPr>
          <a:xfrm>
            <a:off x="7827141" y="1226699"/>
            <a:ext cx="1144544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Lower </a:t>
            </a:r>
            <a:r>
              <a:rPr lang="de-DE" sz="1400" dirty="0" err="1"/>
              <a:t>Sorbian</a:t>
            </a:r>
            <a:r>
              <a:rPr lang="de-DE" sz="1400" dirty="0"/>
              <a:t> 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15970496-004E-71A6-6CF0-67AF493898F4}"/>
              </a:ext>
            </a:extLst>
          </p:cNvPr>
          <p:cNvSpPr/>
          <p:nvPr/>
        </p:nvSpPr>
        <p:spPr>
          <a:xfrm>
            <a:off x="6758101" y="4195284"/>
            <a:ext cx="355162" cy="38273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2CD4D49B-08F8-96EA-A67C-5EF02286610B}"/>
              </a:ext>
            </a:extLst>
          </p:cNvPr>
          <p:cNvSpPr/>
          <p:nvPr/>
        </p:nvSpPr>
        <p:spPr>
          <a:xfrm>
            <a:off x="8502876" y="4183013"/>
            <a:ext cx="355162" cy="38273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2E07D82C-2AE6-B54E-BEFB-9D696C86DEC9}"/>
              </a:ext>
            </a:extLst>
          </p:cNvPr>
          <p:cNvSpPr/>
          <p:nvPr/>
        </p:nvSpPr>
        <p:spPr>
          <a:xfrm>
            <a:off x="7908516" y="5040540"/>
            <a:ext cx="355162" cy="38273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137BEA4-1C87-78C4-DC60-4B1C7E80D776}"/>
              </a:ext>
            </a:extLst>
          </p:cNvPr>
          <p:cNvSpPr/>
          <p:nvPr/>
        </p:nvSpPr>
        <p:spPr>
          <a:xfrm>
            <a:off x="3225088" y="3046267"/>
            <a:ext cx="625552" cy="382733"/>
          </a:xfrm>
          <a:prstGeom prst="ellipse">
            <a:avLst/>
          </a:prstGeom>
          <a:noFill/>
          <a:ln w="38100">
            <a:solidFill>
              <a:srgbClr val="002060"/>
            </a:solidFill>
          </a:ln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7890BC-6C7E-0A73-500A-5678A79DACC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2B73959-4536-473D-8694-CB0790F5BE3E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B621655-4B42-4F75-5D19-F1AEB388E9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274168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B5DB43-BFFE-280F-9AE4-0D7181981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382733"/>
          </a:xfrm>
        </p:spPr>
        <p:txBody>
          <a:bodyPr/>
          <a:lstStyle/>
          <a:p>
            <a:r>
              <a:rPr lang="de-DE" dirty="0" err="1"/>
              <a:t>Distinctive</a:t>
            </a:r>
            <a:r>
              <a:rPr lang="de-DE" dirty="0"/>
              <a:t> Feature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orbian</a:t>
            </a:r>
            <a:r>
              <a:rPr lang="de-DE" dirty="0"/>
              <a:t> </a:t>
            </a:r>
            <a:r>
              <a:rPr lang="de-DE" dirty="0" err="1"/>
              <a:t>Languages</a:t>
            </a:r>
            <a:endParaRPr lang="de-DE" dirty="0"/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F5940E67-5ECF-7EA3-076E-1F27026159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5790801"/>
              </p:ext>
            </p:extLst>
          </p:nvPr>
        </p:nvGraphicFramePr>
        <p:xfrm>
          <a:off x="315310" y="1035853"/>
          <a:ext cx="11561380" cy="4957103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5780690">
                  <a:extLst>
                    <a:ext uri="{9D8B030D-6E8A-4147-A177-3AD203B41FA5}">
                      <a16:colId xmlns:a16="http://schemas.microsoft.com/office/drawing/2014/main" val="688245157"/>
                    </a:ext>
                  </a:extLst>
                </a:gridCol>
                <a:gridCol w="5780690">
                  <a:extLst>
                    <a:ext uri="{9D8B030D-6E8A-4147-A177-3AD203B41FA5}">
                      <a16:colId xmlns:a16="http://schemas.microsoft.com/office/drawing/2014/main" val="3391737428"/>
                    </a:ext>
                  </a:extLst>
                </a:gridCol>
              </a:tblGrid>
              <a:tr h="346841"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pper </a:t>
                      </a:r>
                      <a:r>
                        <a:rPr lang="de-DE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rbian</a:t>
                      </a:r>
                      <a:endParaRPr lang="de-DE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u="none" strike="noStrike" dirty="0">
                          <a:effectLst/>
                          <a:latin typeface="+mj-lt"/>
                        </a:rPr>
                        <a:t>Lower </a:t>
                      </a:r>
                      <a:r>
                        <a:rPr lang="de-DE" sz="2000" u="none" strike="noStrike" dirty="0" err="1">
                          <a:effectLst/>
                          <a:latin typeface="+mj-lt"/>
                        </a:rPr>
                        <a:t>Sorbian</a:t>
                      </a:r>
                      <a:endParaRPr lang="de-DE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21365709"/>
                  </a:ext>
                </a:extLst>
              </a:tr>
              <a:tr h="4560863"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yłkownje 48 idejow je so zapodało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a wubědźowanje idejow “Rěč zwjazuje. Rěc zwězujo. Sorbisch verbindet.” Załožby za serbski lud je so cyłkownje 48 projektowych idejow z Hornjeje a Delneje Łužicy kaž tež dwě zwonka sydlenskeho ruma respektiwnje wukraja zapodało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su wosebje wšelakore projekty z dźěćimi a dorosćenymi w kotrychž so akterojo na přikład z narodnej drastu serbskimi stawiznami a bajemi zaběraja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óšli su pak tež projektowe ideje na polu tworjaceho wuměłstwa dźiwadła a hudźby kaž tež na polu digitalnych a analognych medijow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ž wuwiće serbskich hrow je so namjetowało runje tak kaž ideje kak móže so widźomnosć serbskeje rěče w zjawnosći powyšić.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le su so namjety za wuwiwanje wšelakich koncepcijow zapodali štož bě w lětušim wubědźowanju tež móžne.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ałožba pruwuje nětko zapodaća a přihotuje podłožki za njewotwisnu mytowansku jury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uta wšitke ideje po wěstych kriterijach kaž kreatiwita inowacija synergije naslědnosć a dalše pohódnoći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ry schadźuje so potom srjedź septembra a wo mytowanju projektow wuradźuje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yłkownje mytuja so 17 idejow: šěsć króć z 1.000 eurami štyri króć z 3.500 eurami štyri króć z 5.000 eurami a tři króć z 10.000 eurami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ytowanje budźe w nazymje konkretny termin hišće njeje jasny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łkownje 48 idejow jo se zapodało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a wuběźowanje idejow “Rěč zwjazuje. Rěc zwězujo. Sorbisch verbindet.” Załožby za serbski lud jo se cełkownje 48 projektowych idejow z Górneje a Dolneje Łužyce ako teke dwě zwenka sedleńskego ruma respektiwnje wukraja zapódało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su wósebnje wšakorake projekty ze źiśimi a dorosćonymi w kótarychž se aktery na pśikład z narodneju drastwu serbskimi stawiznami a bajkami zaběraju.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jšli pak su teke projektowe ideje na pólu twórjecego wuměłstwa źiwadła a muziki ako teke na pólu digitalnych a analognych medijow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ke wuwiśe serbskich graśow jo se naraźiło rowno tak ako ideje kak móžo se widobnosć serbskeje rěcy w zjawnosći pówušyś.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lej su se naraźenja za wuwijanje wšakich koncepcijow zapódali což jo we lětosnem wuběźowanju teke móžno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ałožba pśespytujo něnto zapódaśa a pśigótujo pódłožki za njewótwisnu mytowańsku jury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ś ta wšykne ideje pó wěstych kriterijach ako kreatiwita inowacija synergije naslědnosć a dalšne pógódnośijo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ry schadujo se pótom srjejź septembra a wó wuznamjenjenju projektow wobradujo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łkownje mytuju se 17 idejow: šesć razow z 1.000 eurami styri raze z 3.500 eurami styri raze z 5.000 eurami a tśi raze z 10.000 eurami. </a:t>
                      </a:r>
                    </a:p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ytowanje buźo w nazymje konkretny termin hyšći njejo jasn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7911584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FDE70C-79A5-27E3-AC1B-D1FEADDA583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8863F4D-02CA-4A58-A2C7-04F4E1D95F08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F315152-9197-AB25-7D63-39AAFB6B84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411859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971FD0-B22C-DE19-B2F0-B43D856CA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00" y="334800"/>
            <a:ext cx="10944000" cy="382733"/>
          </a:xfrm>
        </p:spPr>
        <p:txBody>
          <a:bodyPr/>
          <a:lstStyle/>
          <a:p>
            <a:r>
              <a:rPr lang="de-DE" dirty="0" err="1"/>
              <a:t>Distinctive</a:t>
            </a:r>
            <a:r>
              <a:rPr lang="de-DE" dirty="0"/>
              <a:t> Feature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orbian</a:t>
            </a:r>
            <a:r>
              <a:rPr lang="de-DE" dirty="0"/>
              <a:t> </a:t>
            </a:r>
            <a:r>
              <a:rPr lang="de-DE" dirty="0" err="1"/>
              <a:t>Languages</a:t>
            </a:r>
            <a:endParaRPr lang="de-DE" dirty="0"/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BF7096E5-1C01-ADFA-DCD3-0FB30F9F61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3447387"/>
              </p:ext>
            </p:extLst>
          </p:nvPr>
        </p:nvGraphicFramePr>
        <p:xfrm>
          <a:off x="903890" y="910676"/>
          <a:ext cx="10078672" cy="5791200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2519668">
                  <a:extLst>
                    <a:ext uri="{9D8B030D-6E8A-4147-A177-3AD203B41FA5}">
                      <a16:colId xmlns:a16="http://schemas.microsoft.com/office/drawing/2014/main" val="2972398720"/>
                    </a:ext>
                  </a:extLst>
                </a:gridCol>
                <a:gridCol w="2519668">
                  <a:extLst>
                    <a:ext uri="{9D8B030D-6E8A-4147-A177-3AD203B41FA5}">
                      <a16:colId xmlns:a16="http://schemas.microsoft.com/office/drawing/2014/main" val="761272215"/>
                    </a:ext>
                  </a:extLst>
                </a:gridCol>
                <a:gridCol w="2519668">
                  <a:extLst>
                    <a:ext uri="{9D8B030D-6E8A-4147-A177-3AD203B41FA5}">
                      <a16:colId xmlns:a16="http://schemas.microsoft.com/office/drawing/2014/main" val="2143636078"/>
                    </a:ext>
                  </a:extLst>
                </a:gridCol>
                <a:gridCol w="2519668">
                  <a:extLst>
                    <a:ext uri="{9D8B030D-6E8A-4147-A177-3AD203B41FA5}">
                      <a16:colId xmlns:a16="http://schemas.microsoft.com/office/drawing/2014/main" val="2255677284"/>
                    </a:ext>
                  </a:extLst>
                </a:gridCol>
              </a:tblGrid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1" u="none" strike="noStrike" dirty="0">
                          <a:effectLst/>
                        </a:rPr>
                        <a:t>Upper </a:t>
                      </a:r>
                      <a:r>
                        <a:rPr lang="de-DE" sz="1400" b="1" u="none" strike="noStrike" dirty="0" err="1">
                          <a:effectLst/>
                        </a:rPr>
                        <a:t>Sorbian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1" u="none" strike="noStrike">
                          <a:effectLst/>
                        </a:rPr>
                        <a:t>Lower Sorbian</a:t>
                      </a:r>
                      <a:endParaRPr lang="de-DE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1" u="none" strike="noStrike" dirty="0">
                          <a:effectLst/>
                        </a:rPr>
                        <a:t>Upper </a:t>
                      </a:r>
                      <a:r>
                        <a:rPr lang="de-DE" sz="1400" b="1" u="none" strike="noStrike" dirty="0" err="1">
                          <a:effectLst/>
                        </a:rPr>
                        <a:t>Sorbian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1" u="none" strike="noStrike" dirty="0">
                          <a:effectLst/>
                        </a:rPr>
                        <a:t>Lower </a:t>
                      </a:r>
                      <a:r>
                        <a:rPr lang="de-DE" sz="1400" b="1" u="none" strike="noStrike" dirty="0" err="1">
                          <a:effectLst/>
                        </a:rPr>
                        <a:t>Sorbian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946579101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wubědźowanj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wuběźowanj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>
                          <a:effectLst/>
                        </a:rPr>
                        <a:t>Dal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Dalej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063142423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>
                          <a:effectLst/>
                        </a:rPr>
                        <a:t>je so </a:t>
                      </a:r>
                      <a:r>
                        <a:rPr lang="de-DE" sz="1400" u="none" strike="noStrike" dirty="0" err="1">
                          <a:effectLst/>
                        </a:rPr>
                        <a:t>cyłkownj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jo</a:t>
                      </a:r>
                      <a:r>
                        <a:rPr lang="de-DE" sz="1400" u="none" strike="noStrike" dirty="0">
                          <a:effectLst/>
                        </a:rPr>
                        <a:t> se </a:t>
                      </a:r>
                      <a:r>
                        <a:rPr lang="de-DE" sz="1400" u="none" strike="noStrike" dirty="0" err="1">
                          <a:effectLst/>
                        </a:rPr>
                        <a:t>cełkownj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>
                          <a:effectLst/>
                        </a:rPr>
                        <a:t>so </a:t>
                      </a:r>
                      <a:r>
                        <a:rPr lang="de-DE" sz="1400" u="none" strike="noStrike" dirty="0" err="1">
                          <a:effectLst/>
                        </a:rPr>
                        <a:t>namjety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>
                          <a:effectLst/>
                        </a:rPr>
                        <a:t>se </a:t>
                      </a:r>
                      <a:r>
                        <a:rPr lang="de-DE" sz="1400" u="none" strike="noStrike" dirty="0" err="1">
                          <a:effectLst/>
                        </a:rPr>
                        <a:t>naraźenj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515244642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Hornjej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Górnej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wuwiwanje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wšelakich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wuwijanje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wšakich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064987679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Delneje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Łužicy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kaž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tež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Dolneje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Łužyce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ako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tek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ruwuje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nětko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zapodać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śespytujo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něnto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zapódaś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533369294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zwonka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sydlenskeh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zwenka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sedleńskeg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řihotuje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podłožki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śigótujo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pódłožki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724156511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zapodał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zapódał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njewotwisnu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mytowansku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njewótwisnu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mytowańsku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259662933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wosebje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wšelakor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>
                          <a:effectLst/>
                        </a:rPr>
                        <a:t>'wósebnje wšakorake'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>
                          <a:effectLst/>
                        </a:rPr>
                        <a:t>Tuta </a:t>
                      </a:r>
                      <a:r>
                        <a:rPr lang="de-DE" sz="1400" u="none" strike="noStrike" dirty="0" err="1">
                          <a:effectLst/>
                        </a:rPr>
                        <a:t>wšitk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Toś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ta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wšykn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887860287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bajemi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zaběraj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bajkami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zaběraju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ó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48016124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olu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tworjaceh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ólu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twórjeceg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dalše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pohódnoći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dalšne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pógódnośij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493764586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dźiwadł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źiwadł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schadźuje</a:t>
                      </a:r>
                      <a:r>
                        <a:rPr lang="de-DE" sz="1400" u="none" strike="noStrike" dirty="0">
                          <a:effectLst/>
                        </a:rPr>
                        <a:t> so </a:t>
                      </a:r>
                      <a:r>
                        <a:rPr lang="de-DE" sz="1400" u="none" strike="noStrike" dirty="0" err="1">
                          <a:effectLst/>
                        </a:rPr>
                        <a:t>potom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srjedź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schadujo</a:t>
                      </a:r>
                      <a:r>
                        <a:rPr lang="de-DE" sz="1400" u="none" strike="noStrike" dirty="0">
                          <a:effectLst/>
                        </a:rPr>
                        <a:t> se </a:t>
                      </a:r>
                      <a:r>
                        <a:rPr lang="de-DE" sz="1400" u="none" strike="noStrike" dirty="0" err="1">
                          <a:effectLst/>
                        </a:rPr>
                        <a:t>pótom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srjejź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852030616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hudźby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kaž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tež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muziki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ako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tek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>
                          <a:effectLst/>
                        </a:rPr>
                        <a:t>wo </a:t>
                      </a:r>
                      <a:r>
                        <a:rPr lang="de-DE" sz="1400" u="none" strike="noStrike" dirty="0" err="1">
                          <a:effectLst/>
                        </a:rPr>
                        <a:t>mytowanju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wó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wuznamjenjenju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358163576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olu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ólu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wuradźuj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wobraduj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963455796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Tež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wuwić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>
                          <a:effectLst/>
                        </a:rPr>
                        <a:t>Teke </a:t>
                      </a:r>
                      <a:r>
                        <a:rPr lang="de-DE" sz="1400" u="none" strike="noStrike" dirty="0" err="1">
                          <a:effectLst/>
                        </a:rPr>
                        <a:t>wuwiś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>
                          <a:effectLst/>
                        </a:rPr>
                        <a:t>'Cyłkownje </a:t>
                      </a:r>
                      <a:r>
                        <a:rPr lang="de-DE" sz="1400" u="none" strike="noStrike" err="1">
                          <a:effectLst/>
                        </a:rPr>
                        <a:t>mytuja</a:t>
                      </a:r>
                      <a:r>
                        <a:rPr lang="de-DE" sz="1400" u="none" strike="noStrike">
                          <a:effectLst/>
                        </a:rPr>
                        <a:t> so'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>
                          <a:effectLst/>
                        </a:rPr>
                        <a:t>'Cełkownje </a:t>
                      </a:r>
                      <a:r>
                        <a:rPr lang="de-DE" sz="1400" u="none" strike="noStrike" err="1">
                          <a:effectLst/>
                        </a:rPr>
                        <a:t>mytuju</a:t>
                      </a:r>
                      <a:r>
                        <a:rPr lang="de-DE" sz="1400" u="none" strike="noStrike">
                          <a:effectLst/>
                        </a:rPr>
                        <a:t> se'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053437984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pl-PL" sz="1400" u="none" strike="noStrike" dirty="0">
                          <a:effectLst/>
                        </a:rPr>
                        <a:t>hrow je so namjetowało runje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graśow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jo</a:t>
                      </a:r>
                      <a:r>
                        <a:rPr lang="de-DE" sz="1400" u="none" strike="noStrike" dirty="0">
                          <a:effectLst/>
                        </a:rPr>
                        <a:t> se </a:t>
                      </a:r>
                      <a:r>
                        <a:rPr lang="de-DE" sz="1400" u="none" strike="noStrike" dirty="0" err="1">
                          <a:effectLst/>
                        </a:rPr>
                        <a:t>naraźiło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rown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šěsć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króć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šesć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razow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438750646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kaž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ak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štyri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króć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styri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raz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769910487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móže</a:t>
                      </a:r>
                      <a:r>
                        <a:rPr lang="de-DE" sz="1400" u="none" strike="noStrike" dirty="0">
                          <a:effectLst/>
                        </a:rPr>
                        <a:t> so </a:t>
                      </a:r>
                      <a:r>
                        <a:rPr lang="de-DE" sz="1400" u="none" strike="noStrike" dirty="0" err="1">
                          <a:effectLst/>
                        </a:rPr>
                        <a:t>widźomnosć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móžo</a:t>
                      </a:r>
                      <a:r>
                        <a:rPr lang="de-DE" sz="1400" u="none" strike="noStrike" dirty="0">
                          <a:effectLst/>
                        </a:rPr>
                        <a:t> se </a:t>
                      </a:r>
                      <a:r>
                        <a:rPr lang="de-DE" sz="1400" u="none" strike="noStrike" dirty="0" err="1">
                          <a:effectLst/>
                        </a:rPr>
                        <a:t>widobnosć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tři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króć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tśi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raz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511796886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rěč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rěcy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budź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buź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067596113"/>
                  </a:ext>
                </a:extLst>
              </a:tr>
              <a:tr h="2699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owyšić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pówušyś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hišće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njej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 err="1">
                          <a:effectLst/>
                        </a:rPr>
                        <a:t>hyšći</a:t>
                      </a:r>
                      <a:r>
                        <a:rPr lang="de-DE" sz="1400" u="none" strike="noStrike" dirty="0">
                          <a:effectLst/>
                        </a:rPr>
                        <a:t> </a:t>
                      </a:r>
                      <a:r>
                        <a:rPr lang="de-DE" sz="1400" u="none" strike="noStrike" dirty="0" err="1">
                          <a:effectLst/>
                        </a:rPr>
                        <a:t>njej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834550427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A2DDAF-D541-8EE0-DDB3-92E2F300CD0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459776E-83CE-4D7B-A2A6-FE41FD65A12D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33EF378-AD04-8807-D60A-0EF32083B8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728070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3F95AC-2031-4B09-87E3-998AF6E48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382733"/>
          </a:xfrm>
        </p:spPr>
        <p:txBody>
          <a:bodyPr/>
          <a:lstStyle/>
          <a:p>
            <a:r>
              <a:rPr lang="de-DE" dirty="0"/>
              <a:t>Who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?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1078527-EAB9-4F0C-8939-7FDB60389FF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5031" y="4753299"/>
            <a:ext cx="1757865" cy="1037908"/>
          </a:xfrm>
          <a:prstGeom prst="rect">
            <a:avLst/>
          </a:prstGeom>
        </p:spPr>
      </p:pic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353784E-C112-4705-DBA6-74615ED5AB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2300" y="1773238"/>
            <a:ext cx="10707852" cy="2692725"/>
          </a:xfrm>
        </p:spPr>
        <p:txBody>
          <a:bodyPr/>
          <a:lstStyle/>
          <a:p>
            <a:pPr lvl="3"/>
            <a:r>
              <a:rPr lang="en-US" sz="1800" b="1" dirty="0"/>
              <a:t>Fraunhofer Institute for Ceramic Technologies and Systems IKTS, Dresden, Germany</a:t>
            </a:r>
          </a:p>
          <a:p>
            <a:pPr lvl="4"/>
            <a:r>
              <a:rPr lang="en-US" sz="1800" dirty="0"/>
              <a:t>www.ikts.fraunhofer.de</a:t>
            </a:r>
          </a:p>
          <a:p>
            <a:pPr lvl="3"/>
            <a:endParaRPr lang="en-US" sz="1800" dirty="0"/>
          </a:p>
          <a:p>
            <a:pPr lvl="3"/>
            <a:r>
              <a:rPr lang="de-DE" sz="1800" b="1" dirty="0" err="1"/>
              <a:t>Załožba</a:t>
            </a:r>
            <a:r>
              <a:rPr lang="de-DE" sz="1800" b="1" dirty="0"/>
              <a:t> </a:t>
            </a:r>
            <a:r>
              <a:rPr lang="de-DE" sz="1800" b="1" dirty="0" err="1"/>
              <a:t>za</a:t>
            </a:r>
            <a:r>
              <a:rPr lang="de-DE" sz="1800" b="1" dirty="0"/>
              <a:t> </a:t>
            </a:r>
            <a:r>
              <a:rPr lang="de-DE" sz="1800" b="1" dirty="0" err="1"/>
              <a:t>serbski</a:t>
            </a:r>
            <a:r>
              <a:rPr lang="de-DE" sz="1800" b="1" dirty="0"/>
              <a:t> lud, </a:t>
            </a:r>
            <a:r>
              <a:rPr lang="de-DE" sz="1800" b="1" dirty="0" err="1"/>
              <a:t>Budyšin</a:t>
            </a:r>
            <a:r>
              <a:rPr lang="de-DE" sz="1800" b="1" dirty="0"/>
              <a:t> / </a:t>
            </a:r>
            <a:r>
              <a:rPr lang="en-US" sz="1800" b="1" dirty="0"/>
              <a:t>Foundation for the Sorbian People, Bautzen, Germany</a:t>
            </a:r>
          </a:p>
          <a:p>
            <a:pPr lvl="4"/>
            <a:r>
              <a:rPr lang="en-US" sz="1800" dirty="0"/>
              <a:t>www.zalozba.de</a:t>
            </a:r>
          </a:p>
          <a:p>
            <a:pPr lvl="3"/>
            <a:endParaRPr lang="en-US" sz="1800" dirty="0"/>
          </a:p>
          <a:p>
            <a:pPr lvl="3"/>
            <a:r>
              <a:rPr lang="en-US" sz="1800" b="1" dirty="0"/>
              <a:t>Brandenburg University of Technology (BTU) Cottbus-</a:t>
            </a:r>
            <a:r>
              <a:rPr lang="en-US" sz="1800" b="1" dirty="0" err="1"/>
              <a:t>Senftenberg</a:t>
            </a:r>
            <a:r>
              <a:rPr lang="en-US" sz="1800" b="1" dirty="0"/>
              <a:t>, Cottbus, Germany</a:t>
            </a:r>
          </a:p>
          <a:p>
            <a:pPr lvl="4"/>
            <a:r>
              <a:rPr lang="en-US" sz="1800" dirty="0"/>
              <a:t>www.b-tu.de</a:t>
            </a:r>
          </a:p>
          <a:p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DD21660-35FB-8B43-1FEA-95EB264F97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9718" y="4917361"/>
            <a:ext cx="4140425" cy="709787"/>
          </a:xfrm>
          <a:prstGeom prst="rect">
            <a:avLst/>
          </a:prstGeom>
        </p:spPr>
      </p:pic>
      <p:pic>
        <p:nvPicPr>
          <p:cNvPr id="13" name="ikts_rgb_modul_send_de">
            <a:extLst>
              <a:ext uri="{FF2B5EF4-FFF2-40B4-BE49-F238E27FC236}">
                <a16:creationId xmlns:a16="http://schemas.microsoft.com/office/drawing/2014/main" id="{A1CC3104-675D-934A-7F4B-423C4796C4D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8833"/>
          <a:stretch/>
        </p:blipFill>
        <p:spPr>
          <a:xfrm>
            <a:off x="622300" y="4671273"/>
            <a:ext cx="3355910" cy="1201961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604242C-5AED-4E04-4ED7-11226B1D807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96A86E5-8D99-4C4E-96C0-1FCCFCF2D174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F51AF6-A9AB-ED23-076D-6D8FD16ED7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924595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2C29-AB80-E14A-2A3F-C6A963250F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382733"/>
          </a:xfrm>
        </p:spPr>
        <p:txBody>
          <a:bodyPr/>
          <a:lstStyle/>
          <a:p>
            <a:r>
              <a:rPr lang="de-DE" dirty="0"/>
              <a:t>Who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orbian</a:t>
            </a:r>
            <a:r>
              <a:rPr lang="de-DE" dirty="0"/>
              <a:t> People?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AC8566E-E0B1-85F0-F8E8-A3917A432FD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4924" y="1960880"/>
            <a:ext cx="6653180" cy="3596225"/>
          </a:xfr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F966CC0-E63D-0C3D-F45F-3810461B81C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0055" y="798311"/>
            <a:ext cx="3287021" cy="219095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2B0A2AA-6470-8D27-579B-E477C4AB2680}"/>
              </a:ext>
            </a:extLst>
          </p:cNvPr>
          <p:cNvSpPr txBox="1"/>
          <p:nvPr/>
        </p:nvSpPr>
        <p:spPr>
          <a:xfrm>
            <a:off x="458396" y="5664481"/>
            <a:ext cx="61452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 err="1"/>
              <a:t>Credits</a:t>
            </a:r>
            <a:r>
              <a:rPr lang="de-DE" sz="1000" dirty="0"/>
              <a:t>: Sorbisches National-Ensemble, </a:t>
            </a:r>
            <a:r>
              <a:rPr lang="de-DE" sz="1000" b="0" i="0" dirty="0" err="1">
                <a:solidFill>
                  <a:srgbClr val="545658"/>
                </a:solidFill>
                <a:effectLst/>
              </a:rPr>
              <a:t>irakite</a:t>
            </a:r>
            <a:r>
              <a:rPr lang="de-DE" sz="1000" b="0" i="0" dirty="0">
                <a:solidFill>
                  <a:srgbClr val="545658"/>
                </a:solidFill>
                <a:effectLst/>
              </a:rPr>
              <a:t>/Getty Images, </a:t>
            </a:r>
            <a:r>
              <a:rPr lang="de-DE" sz="1000" dirty="0" err="1"/>
              <a:t>hagens_world</a:t>
            </a:r>
            <a:r>
              <a:rPr lang="de-DE" sz="1000" dirty="0"/>
              <a:t>/</a:t>
            </a:r>
            <a:r>
              <a:rPr lang="de-DE" sz="1000" dirty="0" err="1"/>
              <a:t>flickr</a:t>
            </a:r>
            <a:r>
              <a:rPr lang="de-DE" sz="1000" dirty="0"/>
              <a:t>,</a:t>
            </a:r>
            <a:r>
              <a:rPr lang="en-US" sz="1000" dirty="0"/>
              <a:t> By Julian </a:t>
            </a:r>
            <a:r>
              <a:rPr lang="en-US" sz="1000" dirty="0" err="1"/>
              <a:t>Nyča</a:t>
            </a:r>
            <a:r>
              <a:rPr lang="en-US" sz="1000" dirty="0"/>
              <a:t> - Own work, CC BY-SA 3.0, https://commons.wikimedia.org/w/index.php?curid=88532443</a:t>
            </a:r>
            <a:endParaRPr lang="de-DE" sz="10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F780E99-11A7-3593-93CA-F8C125238F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5429" y="3100069"/>
            <a:ext cx="5125765" cy="288324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2B14E70-67CE-83ED-244F-B989925655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6040" y="1138795"/>
            <a:ext cx="2769431" cy="1845566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E0834B-7CEE-ACDC-1B92-3984B042A88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466C3DA-F2FD-4EAC-A26D-C58EBEAEEE52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FED888-2D62-4BCA-677B-9A0267D609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274737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C146F5-986C-2E36-85C7-DC520E2C9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" name="co-jo-serbske-kulturne-derbstwo_burn-in_1920x1080_x264_--_--">
            <a:hlinkClick r:id="" action="ppaction://media"/>
            <a:extLst>
              <a:ext uri="{FF2B5EF4-FFF2-40B4-BE49-F238E27FC236}">
                <a16:creationId xmlns:a16="http://schemas.microsoft.com/office/drawing/2014/main" id="{EB105020-900B-9111-E7FE-65EBDE86D0BC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3000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0510"/>
            <a:ext cx="12192000" cy="6858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21094AB-1BFA-BEAC-27D2-697DF12ED6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60388" y="102049"/>
            <a:ext cx="1523479" cy="108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5BC276-B490-5D17-BDFA-C50CF3C686D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0A8880C-258D-43A6-960A-FD28C0D020C5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C8862DB-2DF2-19E3-7243-B00F024417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61683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4408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94408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3F95AC-2031-4B09-87E3-998AF6E48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382733"/>
          </a:xfrm>
        </p:spPr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Sorbian</a:t>
            </a:r>
            <a:r>
              <a:rPr lang="de-DE" dirty="0"/>
              <a:t> </a:t>
            </a:r>
            <a:r>
              <a:rPr lang="de-DE" dirty="0" err="1"/>
              <a:t>Languages</a:t>
            </a:r>
            <a:r>
              <a:rPr lang="de-DE" dirty="0"/>
              <a:t>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8935EAA-EB44-472D-A9C9-E232E314CD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195" y="1478916"/>
            <a:ext cx="6265788" cy="3639010"/>
          </a:xfrm>
        </p:spPr>
        <p:txBody>
          <a:bodyPr/>
          <a:lstStyle/>
          <a:p>
            <a:pPr lvl="3"/>
            <a:r>
              <a:rPr lang="en-US" sz="1800" dirty="0"/>
              <a:t>Upper Sorbian (</a:t>
            </a:r>
            <a:r>
              <a:rPr lang="en-US" sz="1800" dirty="0" err="1"/>
              <a:t>hornjoserbšćina</a:t>
            </a:r>
            <a:r>
              <a:rPr lang="en-US" sz="1800" dirty="0"/>
              <a:t>) and Lower Sorbian (</a:t>
            </a:r>
            <a:r>
              <a:rPr lang="en-US" sz="1800" dirty="0" err="1"/>
              <a:t>dolnoserbšćina</a:t>
            </a:r>
            <a:r>
              <a:rPr lang="en-US" sz="1800" dirty="0"/>
              <a:t>) are </a:t>
            </a:r>
            <a:r>
              <a:rPr lang="en-US" sz="1800" b="1" dirty="0">
                <a:solidFill>
                  <a:schemeClr val="accent1"/>
                </a:solidFill>
              </a:rPr>
              <a:t>West Slavic languages</a:t>
            </a:r>
          </a:p>
          <a:p>
            <a:pPr lvl="3"/>
            <a:endParaRPr lang="en-US" sz="1800" dirty="0"/>
          </a:p>
          <a:p>
            <a:pPr lvl="3"/>
            <a:r>
              <a:rPr lang="en-US" sz="1800" dirty="0"/>
              <a:t>Although closely related they are only partially mutually intelligible.</a:t>
            </a:r>
          </a:p>
          <a:p>
            <a:pPr lvl="3"/>
            <a:endParaRPr lang="en-US" sz="1800" dirty="0"/>
          </a:p>
          <a:p>
            <a:pPr lvl="3"/>
            <a:r>
              <a:rPr lang="en-US" sz="1800" b="1" dirty="0">
                <a:solidFill>
                  <a:schemeClr val="accent1"/>
                </a:solidFill>
              </a:rPr>
              <a:t>Endangered</a:t>
            </a:r>
            <a:r>
              <a:rPr lang="en-US" sz="1800" dirty="0"/>
              <a:t> and </a:t>
            </a:r>
            <a:r>
              <a:rPr lang="en-US" sz="1800" b="1" dirty="0">
                <a:solidFill>
                  <a:schemeClr val="accent1"/>
                </a:solidFill>
              </a:rPr>
              <a:t>under-resourced (UNESCO)</a:t>
            </a:r>
          </a:p>
          <a:p>
            <a:pPr lvl="3"/>
            <a:endParaRPr lang="en-US" sz="1800" dirty="0"/>
          </a:p>
          <a:p>
            <a:pPr lvl="3"/>
            <a:r>
              <a:rPr lang="en-US" sz="1800" dirty="0"/>
              <a:t>Minority in a predominantly </a:t>
            </a:r>
            <a:r>
              <a:rPr lang="en-US" sz="1800" b="1" dirty="0">
                <a:solidFill>
                  <a:schemeClr val="accent1"/>
                </a:solidFill>
              </a:rPr>
              <a:t>German-speaking area</a:t>
            </a:r>
          </a:p>
          <a:p>
            <a:pPr lvl="4"/>
            <a:r>
              <a:rPr lang="en-US" sz="1800" dirty="0"/>
              <a:t>15-20 thousand speakers of Upper Sorbian, and </a:t>
            </a:r>
            <a:br>
              <a:rPr lang="en-US" sz="1800" dirty="0"/>
            </a:br>
            <a:r>
              <a:rPr lang="en-US" sz="1800" dirty="0"/>
              <a:t>5-10 thousand of Lower Sorbian. </a:t>
            </a:r>
          </a:p>
          <a:p>
            <a:pPr lvl="4"/>
            <a:r>
              <a:rPr lang="en-US" sz="1800" dirty="0"/>
              <a:t>Mostly used for </a:t>
            </a:r>
            <a:r>
              <a:rPr lang="en-US" sz="1800" b="1" dirty="0">
                <a:solidFill>
                  <a:schemeClr val="accent1"/>
                </a:solidFill>
              </a:rPr>
              <a:t>daily communication </a:t>
            </a:r>
            <a:r>
              <a:rPr lang="en-US" sz="1800" dirty="0"/>
              <a:t>in the central areas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114F583-305B-48CC-B433-3F0BA84893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5292" y="526166"/>
            <a:ext cx="4467225" cy="5429250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18FF09-29D2-3FAA-3C8A-747E8879DFD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072642F-E230-4348-BAAB-F39A1E637C46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C294162-5E83-F1E7-DB22-AF01BEF042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885492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BFDCF5-2A29-8C4E-3CE3-8FF7789B3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382733"/>
          </a:xfrm>
        </p:spPr>
        <p:txBody>
          <a:bodyPr/>
          <a:lstStyle/>
          <a:p>
            <a:r>
              <a:rPr lang="de-DE" dirty="0" err="1"/>
              <a:t>Distinctive</a:t>
            </a:r>
            <a:r>
              <a:rPr lang="de-DE" dirty="0"/>
              <a:t> Feature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orbian</a:t>
            </a:r>
            <a:r>
              <a:rPr lang="de-DE" dirty="0"/>
              <a:t> </a:t>
            </a:r>
            <a:r>
              <a:rPr lang="de-DE" dirty="0" err="1"/>
              <a:t>Languag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BA6CDE1-0411-41E3-2E41-77CD2CD08F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218" y="1689155"/>
            <a:ext cx="5061336" cy="4322762"/>
          </a:xfrm>
        </p:spPr>
        <p:txBody>
          <a:bodyPr>
            <a:normAutofit/>
          </a:bodyPr>
          <a:lstStyle/>
          <a:p>
            <a:pPr lvl="3"/>
            <a:r>
              <a:rPr lang="de-DE" sz="1800" b="1" dirty="0" err="1">
                <a:solidFill>
                  <a:schemeClr val="accent1"/>
                </a:solidFill>
              </a:rPr>
              <a:t>Phonology</a:t>
            </a:r>
            <a:r>
              <a:rPr lang="de-DE" sz="1800" b="1" dirty="0">
                <a:solidFill>
                  <a:schemeClr val="accent1"/>
                </a:solidFill>
              </a:rPr>
              <a:t>: </a:t>
            </a:r>
          </a:p>
          <a:p>
            <a:pPr lvl="4">
              <a:lnSpc>
                <a:spcPct val="100000"/>
              </a:lnSpc>
              <a:spcBef>
                <a:spcPts val="1200"/>
              </a:spcBef>
            </a:pPr>
            <a:r>
              <a:rPr lang="en-US" sz="1800" dirty="0"/>
              <a:t>consonant clusters, 3,4 consonants in row</a:t>
            </a:r>
          </a:p>
          <a:p>
            <a:pPr lvl="4">
              <a:lnSpc>
                <a:spcPct val="100000"/>
              </a:lnSpc>
              <a:spcBef>
                <a:spcPts val="1200"/>
              </a:spcBef>
            </a:pPr>
            <a:r>
              <a:rPr lang="en-US" sz="1800" dirty="0"/>
              <a:t>palatalization</a:t>
            </a:r>
          </a:p>
          <a:p>
            <a:pPr lvl="4">
              <a:lnSpc>
                <a:spcPct val="100000"/>
              </a:lnSpc>
              <a:spcBef>
                <a:spcPts val="1200"/>
              </a:spcBef>
            </a:pPr>
            <a:r>
              <a:rPr lang="en-US" sz="1800" dirty="0"/>
              <a:t>distinctive vowel sounds, reduction in Lower Sorbian and length in Upper Sorbian</a:t>
            </a:r>
          </a:p>
          <a:p>
            <a:pPr lvl="3">
              <a:lnSpc>
                <a:spcPct val="100000"/>
              </a:lnSpc>
              <a:spcBef>
                <a:spcPts val="1200"/>
              </a:spcBef>
            </a:pPr>
            <a:endParaRPr lang="en-US" sz="1800" dirty="0"/>
          </a:p>
          <a:p>
            <a:pPr lvl="3"/>
            <a:r>
              <a:rPr lang="en-US" sz="1800" b="1" dirty="0">
                <a:solidFill>
                  <a:schemeClr val="accent1"/>
                </a:solidFill>
              </a:rPr>
              <a:t>Morphology: </a:t>
            </a:r>
          </a:p>
          <a:p>
            <a:pPr lvl="4">
              <a:lnSpc>
                <a:spcPct val="100000"/>
              </a:lnSpc>
              <a:spcBef>
                <a:spcPts val="1200"/>
              </a:spcBef>
            </a:pPr>
            <a:r>
              <a:rPr lang="en-US" sz="1800" dirty="0"/>
              <a:t>dual number (also present in Slovenian)</a:t>
            </a:r>
          </a:p>
          <a:p>
            <a:pPr lvl="4">
              <a:lnSpc>
                <a:spcPct val="100000"/>
              </a:lnSpc>
              <a:spcBef>
                <a:spcPts val="1200"/>
              </a:spcBef>
            </a:pPr>
            <a:r>
              <a:rPr lang="en-US" sz="1800" dirty="0"/>
              <a:t>inflectional complexity </a:t>
            </a:r>
            <a:br>
              <a:rPr lang="en-US" sz="1800" dirty="0"/>
            </a:br>
            <a:r>
              <a:rPr lang="en-US" sz="1800" dirty="0"/>
              <a:t>(6 + </a:t>
            </a:r>
            <a:r>
              <a:rPr lang="en-US" sz="1800" dirty="0" err="1"/>
              <a:t>Vocativ</a:t>
            </a:r>
            <a:r>
              <a:rPr lang="en-US" sz="1800" dirty="0"/>
              <a:t> in Upper Sorbian)</a:t>
            </a:r>
          </a:p>
          <a:p>
            <a:pPr lvl="3"/>
            <a:endParaRPr lang="de-DE" sz="1800" dirty="0"/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9D28AA9B-095B-E099-A454-CD4C36597C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1170376"/>
              </p:ext>
            </p:extLst>
          </p:nvPr>
        </p:nvGraphicFramePr>
        <p:xfrm>
          <a:off x="5883334" y="1182485"/>
          <a:ext cx="5682965" cy="4493030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405634">
                  <a:extLst>
                    <a:ext uri="{9D8B030D-6E8A-4147-A177-3AD203B41FA5}">
                      <a16:colId xmlns:a16="http://schemas.microsoft.com/office/drawing/2014/main" val="519490766"/>
                    </a:ext>
                  </a:extLst>
                </a:gridCol>
                <a:gridCol w="1425777">
                  <a:extLst>
                    <a:ext uri="{9D8B030D-6E8A-4147-A177-3AD203B41FA5}">
                      <a16:colId xmlns:a16="http://schemas.microsoft.com/office/drawing/2014/main" val="1914171656"/>
                    </a:ext>
                  </a:extLst>
                </a:gridCol>
                <a:gridCol w="1425777">
                  <a:extLst>
                    <a:ext uri="{9D8B030D-6E8A-4147-A177-3AD203B41FA5}">
                      <a16:colId xmlns:a16="http://schemas.microsoft.com/office/drawing/2014/main" val="3040853315"/>
                    </a:ext>
                  </a:extLst>
                </a:gridCol>
                <a:gridCol w="1425777">
                  <a:extLst>
                    <a:ext uri="{9D8B030D-6E8A-4147-A177-3AD203B41FA5}">
                      <a16:colId xmlns:a16="http://schemas.microsoft.com/office/drawing/2014/main" val="1767493653"/>
                    </a:ext>
                  </a:extLst>
                </a:gridCol>
              </a:tblGrid>
              <a:tr h="439190">
                <a:tc>
                  <a:txBody>
                    <a:bodyPr/>
                    <a:lstStyle/>
                    <a:p>
                      <a:pPr algn="ctr" fontAlgn="b"/>
                      <a:endParaRPr lang="de-DE" sz="16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1" dirty="0" err="1">
                          <a:effectLst/>
                        </a:rPr>
                        <a:t>Sg</a:t>
                      </a:r>
                      <a:endParaRPr lang="de-DE" sz="1600" b="1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1" dirty="0">
                          <a:effectLst/>
                        </a:rPr>
                        <a:t>D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1" dirty="0" err="1">
                          <a:effectLst/>
                        </a:rPr>
                        <a:t>Pl</a:t>
                      </a:r>
                      <a:endParaRPr lang="de-DE" sz="1600" b="1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5011199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b="1" dirty="0">
                          <a:effectLst/>
                        </a:rPr>
                        <a:t>Nominati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b="1" dirty="0" err="1">
                          <a:effectLst/>
                        </a:rPr>
                        <a:t>Běłohród</a:t>
                      </a:r>
                      <a:endParaRPr lang="de-DE" sz="1600" b="1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dirty="0" err="1">
                          <a:effectLst/>
                        </a:rPr>
                        <a:t>Běłohrodaj</a:t>
                      </a:r>
                      <a:endParaRPr lang="de-DE" sz="16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>
                          <a:effectLst/>
                        </a:rPr>
                        <a:t>Běłohrod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44462855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b="1" dirty="0">
                          <a:effectLst/>
                        </a:rPr>
                        <a:t>Geniti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>
                          <a:effectLst/>
                        </a:rPr>
                        <a:t>Běłohrod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dirty="0" err="1">
                          <a:effectLst/>
                        </a:rPr>
                        <a:t>Běłohrodow</a:t>
                      </a:r>
                      <a:endParaRPr lang="de-DE" sz="16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>
                          <a:effectLst/>
                        </a:rPr>
                        <a:t>Běłohrodow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0773798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b="1" dirty="0">
                          <a:effectLst/>
                        </a:rPr>
                        <a:t>Dati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>
                          <a:effectLst/>
                        </a:rPr>
                        <a:t>Běłohrodej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dirty="0" err="1">
                          <a:effectLst/>
                        </a:rPr>
                        <a:t>Běłohrodomaj</a:t>
                      </a:r>
                      <a:endParaRPr lang="de-DE" sz="16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>
                          <a:effectLst/>
                        </a:rPr>
                        <a:t>Běłohroda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1809734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b="1" dirty="0" err="1">
                          <a:effectLst/>
                        </a:rPr>
                        <a:t>Accusativ</a:t>
                      </a:r>
                      <a:endParaRPr lang="de-DE" sz="1600" b="1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>
                          <a:effectLst/>
                        </a:rPr>
                        <a:t>Běłohró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dirty="0" err="1">
                          <a:effectLst/>
                        </a:rPr>
                        <a:t>Běłohrodaj</a:t>
                      </a:r>
                      <a:endParaRPr lang="de-DE" sz="16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dirty="0" err="1">
                          <a:effectLst/>
                        </a:rPr>
                        <a:t>Běłohrody</a:t>
                      </a:r>
                      <a:endParaRPr lang="de-DE" sz="1600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5319405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b="1" dirty="0">
                          <a:effectLst/>
                        </a:rPr>
                        <a:t>Instrument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>
                          <a:effectLst/>
                        </a:rPr>
                        <a:t>Běłohrodo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>
                          <a:effectLst/>
                        </a:rPr>
                        <a:t>Běłohrodomaj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dirty="0" err="1">
                          <a:effectLst/>
                        </a:rPr>
                        <a:t>Běłohrodami</a:t>
                      </a:r>
                      <a:endParaRPr lang="de-DE" sz="1600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71569291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b="1" dirty="0" err="1">
                          <a:effectLst/>
                        </a:rPr>
                        <a:t>Locativ</a:t>
                      </a:r>
                      <a:endParaRPr lang="de-DE" sz="1600" b="1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>
                          <a:effectLst/>
                        </a:rPr>
                        <a:t>Běłohrodź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>
                          <a:effectLst/>
                        </a:rPr>
                        <a:t>Běłohrodomaj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dirty="0" err="1">
                          <a:effectLst/>
                        </a:rPr>
                        <a:t>Běłohrodach</a:t>
                      </a:r>
                      <a:endParaRPr lang="de-DE" sz="1600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136252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b="1" dirty="0" err="1">
                          <a:effectLst/>
                        </a:rPr>
                        <a:t>Vocativ</a:t>
                      </a:r>
                      <a:r>
                        <a:rPr lang="de-DE" sz="1600" b="1" dirty="0">
                          <a:effectLst/>
                        </a:rPr>
                        <a:t> (HSB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>
                          <a:effectLst/>
                        </a:rPr>
                        <a:t>Běłohrodo</a:t>
                      </a:r>
                      <a:br>
                        <a:rPr lang="de-DE" sz="1600">
                          <a:effectLst/>
                        </a:rPr>
                      </a:br>
                      <a:r>
                        <a:rPr lang="de-DE" sz="1600">
                          <a:effectLst/>
                        </a:rPr>
                        <a:t>Běłohrodź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dirty="0" err="1">
                          <a:effectLst/>
                        </a:rPr>
                        <a:t>Běłohrodaj</a:t>
                      </a:r>
                      <a:endParaRPr lang="de-DE" sz="16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dirty="0" err="1">
                          <a:effectLst/>
                        </a:rPr>
                        <a:t>Běłohrody</a:t>
                      </a:r>
                      <a:endParaRPr lang="de-DE" sz="1600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54494024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4C4C0EAC-CDF6-A0E4-6BEA-60F1DBEBE797}"/>
              </a:ext>
            </a:extLst>
          </p:cNvPr>
          <p:cNvSpPr txBox="1"/>
          <p:nvPr/>
        </p:nvSpPr>
        <p:spPr>
          <a:xfrm>
            <a:off x="7441323" y="5765696"/>
            <a:ext cx="447740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https://soblexx.de/?cmd=morphgen_show.flextab&amp;p_slkey=v1.belohrod1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DAC083C-F5F3-568D-B800-2C54A1E5E16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21E89D7-710A-4F62-B3D0-64FF4C2F0D70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45E7242-20E1-EE97-BAC6-B7E8836F1D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555992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04253F-FB0A-70E5-CF53-397CE2B671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382733"/>
          </a:xfrm>
        </p:spPr>
        <p:txBody>
          <a:bodyPr/>
          <a:lstStyle/>
          <a:p>
            <a:r>
              <a:rPr lang="de-DE" dirty="0" err="1"/>
              <a:t>Distinctive</a:t>
            </a:r>
            <a:r>
              <a:rPr lang="de-DE" dirty="0"/>
              <a:t> Feature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orbian</a:t>
            </a:r>
            <a:r>
              <a:rPr lang="de-DE" dirty="0"/>
              <a:t> </a:t>
            </a:r>
            <a:r>
              <a:rPr lang="de-DE" dirty="0" err="1"/>
              <a:t>Languag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A3190A-8A14-B6E5-312D-DD40D92A69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2300" y="1426397"/>
            <a:ext cx="5999217" cy="4462760"/>
          </a:xfrm>
        </p:spPr>
        <p:txBody>
          <a:bodyPr/>
          <a:lstStyle/>
          <a:p>
            <a:pPr lvl="3"/>
            <a:r>
              <a:rPr lang="en-US" sz="1800" b="1" dirty="0">
                <a:solidFill>
                  <a:schemeClr val="accent1"/>
                </a:solidFill>
              </a:rPr>
              <a:t>Lexical Distinctions: </a:t>
            </a:r>
          </a:p>
          <a:p>
            <a:pPr lvl="4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German borrowings (!)</a:t>
            </a:r>
          </a:p>
          <a:p>
            <a:pPr lvl="5">
              <a:lnSpc>
                <a:spcPct val="100000"/>
              </a:lnSpc>
              <a:spcBef>
                <a:spcPts val="1200"/>
              </a:spcBef>
            </a:pPr>
            <a:r>
              <a:rPr lang="en-US" sz="2000" b="1" dirty="0" err="1">
                <a:solidFill>
                  <a:schemeClr val="tx2"/>
                </a:solidFill>
              </a:rPr>
              <a:t>Müllerom</a:t>
            </a:r>
            <a:r>
              <a:rPr lang="en-US" sz="2000" b="1" dirty="0">
                <a:solidFill>
                  <a:schemeClr val="tx2"/>
                </a:solidFill>
              </a:rPr>
              <a:t>, </a:t>
            </a:r>
            <a:r>
              <a:rPr lang="en-US" sz="2000" b="1" dirty="0" err="1">
                <a:solidFill>
                  <a:schemeClr val="tx2"/>
                </a:solidFill>
              </a:rPr>
              <a:t>Röhrscheidtoweje</a:t>
            </a:r>
            <a:r>
              <a:rPr lang="en-US" sz="2000" b="1" dirty="0">
                <a:solidFill>
                  <a:schemeClr val="tx2"/>
                </a:solidFill>
              </a:rPr>
              <a:t>, </a:t>
            </a:r>
            <a:r>
              <a:rPr lang="en-US" sz="2000" b="1" dirty="0" err="1">
                <a:solidFill>
                  <a:schemeClr val="tx2"/>
                </a:solidFill>
              </a:rPr>
              <a:t>Schörnerowych</a:t>
            </a:r>
            <a:endParaRPr lang="en-US" sz="2000" b="1" dirty="0">
              <a:solidFill>
                <a:schemeClr val="tx2"/>
              </a:solidFill>
            </a:endParaRPr>
          </a:p>
          <a:p>
            <a:pPr lvl="4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Dialectal variations</a:t>
            </a:r>
          </a:p>
          <a:p>
            <a:pPr marL="0" lvl="3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2000" dirty="0"/>
          </a:p>
          <a:p>
            <a:pPr lvl="3"/>
            <a:r>
              <a:rPr lang="en-US" sz="1800" b="1" dirty="0">
                <a:solidFill>
                  <a:schemeClr val="accent1"/>
                </a:solidFill>
              </a:rPr>
              <a:t>Writing system – LATIN: </a:t>
            </a:r>
          </a:p>
          <a:p>
            <a:pPr lvl="5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Č, Š, Ž, </a:t>
            </a:r>
            <a:r>
              <a:rPr lang="de-DE" sz="2000" dirty="0"/>
              <a:t>DŹ, </a:t>
            </a:r>
            <a:r>
              <a:rPr lang="en-US" sz="2000" dirty="0"/>
              <a:t>Ł, Ř in Upper Sorbian </a:t>
            </a:r>
          </a:p>
          <a:p>
            <a:pPr lvl="5">
              <a:lnSpc>
                <a:spcPct val="100000"/>
              </a:lnSpc>
              <a:spcBef>
                <a:spcPts val="1200"/>
              </a:spcBef>
            </a:pPr>
            <a:r>
              <a:rPr lang="de-DE" sz="2000" dirty="0"/>
              <a:t>Ś</a:t>
            </a:r>
            <a:r>
              <a:rPr lang="en-US" sz="2000" dirty="0"/>
              <a:t>, </a:t>
            </a:r>
            <a:r>
              <a:rPr lang="de-DE" sz="2000" dirty="0"/>
              <a:t>Ź, and Ŕ  in Lower </a:t>
            </a:r>
            <a:r>
              <a:rPr lang="de-DE" sz="2000" dirty="0" err="1"/>
              <a:t>Sorbian</a:t>
            </a:r>
            <a:endParaRPr lang="de-DE" sz="2000" dirty="0"/>
          </a:p>
          <a:p>
            <a:pPr lvl="5">
              <a:lnSpc>
                <a:spcPct val="100000"/>
              </a:lnSpc>
              <a:spcBef>
                <a:spcPts val="1200"/>
              </a:spcBef>
            </a:pPr>
            <a:r>
              <a:rPr lang="de-DE" sz="2000" dirty="0" err="1"/>
              <a:t>Digraphs</a:t>
            </a:r>
            <a:r>
              <a:rPr lang="de-DE" sz="2000" dirty="0"/>
              <a:t>: </a:t>
            </a:r>
            <a:r>
              <a:rPr lang="de-DE" sz="2000" dirty="0" err="1"/>
              <a:t>Ch</a:t>
            </a:r>
            <a:r>
              <a:rPr lang="de-DE" sz="2000" dirty="0"/>
              <a:t> and DŹ</a:t>
            </a:r>
          </a:p>
          <a:p>
            <a:pPr lvl="5">
              <a:lnSpc>
                <a:spcPct val="100000"/>
              </a:lnSpc>
              <a:spcBef>
                <a:spcPts val="1200"/>
              </a:spcBef>
            </a:pPr>
            <a:r>
              <a:rPr lang="de-DE" sz="2000" dirty="0"/>
              <a:t>and Q, V, and X </a:t>
            </a:r>
            <a:r>
              <a:rPr lang="de-DE" sz="2000" dirty="0" err="1"/>
              <a:t>used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foreign</a:t>
            </a:r>
            <a:r>
              <a:rPr lang="de-DE" sz="2000" dirty="0"/>
              <a:t> </a:t>
            </a:r>
            <a:r>
              <a:rPr lang="de-DE" sz="2000" dirty="0" err="1"/>
              <a:t>words</a:t>
            </a:r>
            <a:endParaRPr lang="de-DE" sz="2000" dirty="0"/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F188E5EF-87B9-695B-F3C6-EB9D2EF354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9892" y="106936"/>
            <a:ext cx="4541452" cy="5782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9D72E68-8394-C9B2-A7CD-E60F3130F927}"/>
              </a:ext>
            </a:extLst>
          </p:cNvPr>
          <p:cNvSpPr txBox="1"/>
          <p:nvPr/>
        </p:nvSpPr>
        <p:spPr>
          <a:xfrm>
            <a:off x="7559863" y="5778467"/>
            <a:ext cx="42015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 err="1"/>
              <a:t>NordNordWest</a:t>
            </a:r>
            <a:r>
              <a:rPr lang="de-DE" sz="800" dirty="0"/>
              <a:t>/Wikipedia, </a:t>
            </a:r>
            <a:r>
              <a:rPr lang="de-DE" sz="800" dirty="0">
                <a:hlinkClick r:id="rId3"/>
              </a:rPr>
              <a:t>https://de.m.wikipedia.org/wiki/Datei:Sorbische_Dialekte-hsb.png</a:t>
            </a:r>
            <a:endParaRPr lang="de-DE" sz="800" dirty="0"/>
          </a:p>
          <a:p>
            <a:r>
              <a:rPr lang="de-DE" sz="800" dirty="0"/>
              <a:t>https://creativecommons.org/licenses/by-sa/3.0/de/legalcod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76795A4-FF70-8CDE-DC7F-D0814B59943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27BEE91-8884-4B4F-8AD8-F9A47AC13DF2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8DCC66-FFD1-6476-3D91-EFB8721A49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8793198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6C9C57-DC24-6173-3CA2-55ED035DE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382733"/>
          </a:xfrm>
        </p:spPr>
        <p:txBody>
          <a:bodyPr/>
          <a:lstStyle/>
          <a:p>
            <a:r>
              <a:rPr lang="de-DE" dirty="0" err="1"/>
              <a:t>Dfferences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Sorbian</a:t>
            </a:r>
            <a:r>
              <a:rPr lang="de-DE" dirty="0"/>
              <a:t> </a:t>
            </a:r>
            <a:r>
              <a:rPr lang="de-DE" dirty="0" err="1"/>
              <a:t>Languages</a:t>
            </a:r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F1005712-6FBC-9F54-249A-3CAF2EF3F0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2300" y="1912621"/>
            <a:ext cx="10944225" cy="4116527"/>
          </a:xfrm>
        </p:spPr>
      </p:pic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9B83F3FB-7C17-D4B5-95D8-38393E3BE3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3229670"/>
              </p:ext>
            </p:extLst>
          </p:nvPr>
        </p:nvGraphicFramePr>
        <p:xfrm>
          <a:off x="622299" y="1440627"/>
          <a:ext cx="10944000" cy="396240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5494722">
                  <a:extLst>
                    <a:ext uri="{9D8B030D-6E8A-4147-A177-3AD203B41FA5}">
                      <a16:colId xmlns:a16="http://schemas.microsoft.com/office/drawing/2014/main" val="216436252"/>
                    </a:ext>
                  </a:extLst>
                </a:gridCol>
                <a:gridCol w="5449278">
                  <a:extLst>
                    <a:ext uri="{9D8B030D-6E8A-4147-A177-3AD203B41FA5}">
                      <a16:colId xmlns:a16="http://schemas.microsoft.com/office/drawing/2014/main" val="2823871536"/>
                    </a:ext>
                  </a:extLst>
                </a:gridCol>
              </a:tblGrid>
              <a:tr h="346841"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pper </a:t>
                      </a:r>
                      <a:r>
                        <a:rPr lang="de-DE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rbian</a:t>
                      </a:r>
                      <a:endParaRPr lang="de-DE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u="none" strike="noStrike" dirty="0">
                          <a:effectLst/>
                          <a:latin typeface="+mj-lt"/>
                        </a:rPr>
                        <a:t>Lower </a:t>
                      </a:r>
                      <a:r>
                        <a:rPr lang="de-DE" sz="2000" u="none" strike="noStrike" dirty="0" err="1">
                          <a:effectLst/>
                          <a:latin typeface="+mj-lt"/>
                        </a:rPr>
                        <a:t>Sorbian</a:t>
                      </a:r>
                      <a:endParaRPr lang="de-DE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3474378"/>
                  </a:ext>
                </a:extLst>
              </a:tr>
            </a:tbl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03B33F6-3764-E3B2-FE9C-2E9C23E222C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AD04FCD-99DB-428A-AA90-E7C68A955933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98D162B-4AAE-02FB-8745-52324A6970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495729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1F9E75-527F-5DCB-7E8D-91947D41E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334800"/>
            <a:ext cx="10944000" cy="725199"/>
          </a:xfrm>
        </p:spPr>
        <p:txBody>
          <a:bodyPr/>
          <a:lstStyle/>
          <a:p>
            <a:r>
              <a:rPr lang="en-US" dirty="0"/>
              <a:t>Preserving Language Heritage through Speech Technology</a:t>
            </a:r>
            <a:br>
              <a:rPr lang="en-US" dirty="0"/>
            </a:br>
            <a:r>
              <a:rPr lang="en-US" sz="2000" dirty="0">
                <a:latin typeface="Frutiger LT Com 45 Light" panose="020B0303030504020204" pitchFamily="34" charset="0"/>
              </a:rPr>
              <a:t>Automatic transcriptions</a:t>
            </a:r>
            <a:endParaRPr lang="de-DE" sz="2000" dirty="0">
              <a:latin typeface="Frutiger LT Com 45 Light" panose="020B0303030504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DA2D13-A527-C968-71AA-6A8C11FF5B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2300" y="1570038"/>
            <a:ext cx="10944000" cy="4462760"/>
          </a:xfrm>
        </p:spPr>
        <p:txBody>
          <a:bodyPr/>
          <a:lstStyle/>
          <a:p>
            <a:pPr lvl="3"/>
            <a:r>
              <a:rPr lang="en-US" sz="1800" b="1" dirty="0">
                <a:solidFill>
                  <a:schemeClr val="accent1"/>
                </a:solidFill>
              </a:rPr>
              <a:t>Automatic transcription of church sermons in Upper Sorbian</a:t>
            </a:r>
          </a:p>
          <a:p>
            <a:pPr lvl="4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Restricted language domain</a:t>
            </a:r>
          </a:p>
          <a:p>
            <a:pPr lvl="4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Adverse acoustic environment</a:t>
            </a:r>
          </a:p>
          <a:p>
            <a:pPr lvl="5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Renovation of the church</a:t>
            </a:r>
          </a:p>
          <a:p>
            <a:pPr lvl="4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Silence / Music / Speech / Songs</a:t>
            </a:r>
          </a:p>
          <a:p>
            <a:pPr lvl="4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Sermon ordered into:</a:t>
            </a:r>
          </a:p>
          <a:p>
            <a:pPr lvl="5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Religious text readings</a:t>
            </a:r>
          </a:p>
          <a:p>
            <a:pPr lvl="5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Preaching</a:t>
            </a:r>
          </a:p>
          <a:p>
            <a:pPr lvl="5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Eucharist</a:t>
            </a:r>
          </a:p>
          <a:p>
            <a:pPr lvl="5"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Announcement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57E81B9-4D42-DA61-EA09-95AD8EF6D434}"/>
              </a:ext>
            </a:extLst>
          </p:cNvPr>
          <p:cNvSpPr txBox="1"/>
          <p:nvPr/>
        </p:nvSpPr>
        <p:spPr>
          <a:xfrm>
            <a:off x="5875282" y="5735217"/>
            <a:ext cx="5818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hannel: https://www.youtube.com/@chroscancyrkej</a:t>
            </a:r>
          </a:p>
        </p:txBody>
      </p:sp>
      <p:pic>
        <p:nvPicPr>
          <p:cNvPr id="5" name="Grafik 4">
            <a:hlinkClick r:id="rId2"/>
            <a:extLst>
              <a:ext uri="{FF2B5EF4-FFF2-40B4-BE49-F238E27FC236}">
                <a16:creationId xmlns:a16="http://schemas.microsoft.com/office/drawing/2014/main" id="{BF2B798C-024B-9A3C-F14D-B5ECE3C5B3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3242" y="2011121"/>
            <a:ext cx="6493058" cy="3652345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6041DDB-FEB6-3E88-04F6-8927A1BD2A6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A46FCF0-FF6C-4A9B-8A72-3A89191F49D2}" type="datetime1">
              <a:rPr lang="de-DE" noProof="0" smtClean="0"/>
              <a:t>18.11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82807A7-3798-57F7-E220-D70E57D6D0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/>
              <a:t>© Fraunhofer IKT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528301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</Template>
  <TotalTime>0</TotalTime>
  <Words>1591</Words>
  <Application>Microsoft Office PowerPoint</Application>
  <PresentationFormat>Breitbild</PresentationFormat>
  <Paragraphs>309</Paragraphs>
  <Slides>19</Slides>
  <Notes>1</Notes>
  <HiddenSlides>3</HiddenSlides>
  <MMClips>2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9" baseType="lpstr">
      <vt:lpstr>Arial</vt:lpstr>
      <vt:lpstr>Calibri</vt:lpstr>
      <vt:lpstr>Frutiger 45 Light</vt:lpstr>
      <vt:lpstr>Frutiger LT Com 45 Light</vt:lpstr>
      <vt:lpstr>Frutiger LT Com 65 Bold</vt:lpstr>
      <vt:lpstr>Frutiger LT Com 75 Black</vt:lpstr>
      <vt:lpstr>Roboto</vt:lpstr>
      <vt:lpstr>Wingdings</vt:lpstr>
      <vt:lpstr>Fraunhofer_Master_16-9</vt:lpstr>
      <vt:lpstr>think-cell Folie</vt:lpstr>
      <vt:lpstr>PowerPoint-Präsentation</vt:lpstr>
      <vt:lpstr>Who are we?</vt:lpstr>
      <vt:lpstr>Who are the Sorbian People?</vt:lpstr>
      <vt:lpstr>PowerPoint-Präsentation</vt:lpstr>
      <vt:lpstr>What about Sorbian Languages?</vt:lpstr>
      <vt:lpstr>Distinctive Features of the Sorbian Languages</vt:lpstr>
      <vt:lpstr>Distinctive Features of the Sorbian Languages</vt:lpstr>
      <vt:lpstr>Dfferences between Sorbian Languages</vt:lpstr>
      <vt:lpstr>Preserving Language Heritage through Speech Technology Automatic transcriptions</vt:lpstr>
      <vt:lpstr>Preserving Language Heritage through Speech Technology SOrbian - German Machine TRAnslation - SOTRA</vt:lpstr>
      <vt:lpstr>Preserving Language Heritage through Speech Technology Live Translation - Europeada </vt:lpstr>
      <vt:lpstr>Preserving Language Heritage through Speech Technology Speech Synthesis</vt:lpstr>
      <vt:lpstr>Similarities with Serbian?</vt:lpstr>
      <vt:lpstr>Preserving Language Heritage Through Speech Technology:  The Case of Upper Sorbian – Part II</vt:lpstr>
      <vt:lpstr>PowerPoint-Präsentation</vt:lpstr>
      <vt:lpstr>PowerPoint-Präsentation</vt:lpstr>
      <vt:lpstr>Distinctive Features of the Sorbian Languages</vt:lpstr>
      <vt:lpstr>Distinctive Features of the Sorbian Languages</vt:lpstr>
      <vt:lpstr>Distinctive Features of the Sorbian Languag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allin, Annika</dc:creator>
  <cp:lastModifiedBy>Kraljevski, Ivan</cp:lastModifiedBy>
  <cp:revision>471</cp:revision>
  <dcterms:created xsi:type="dcterms:W3CDTF">2022-05-11T07:25:07Z</dcterms:created>
  <dcterms:modified xsi:type="dcterms:W3CDTF">2024-11-18T06:21:54Z</dcterms:modified>
</cp:coreProperties>
</file>